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6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7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8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9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10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6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notesSlides/notesSlide7.xml" ContentType="application/vnd.openxmlformats-officedocument.presentationml.notesSlide+xml"/>
  <Override PartName="/ppt/charts/chart18.xml" ContentType="application/vnd.openxmlformats-officedocument.drawingml.chart+xml"/>
  <Override PartName="/ppt/notesSlides/notesSlide8.xml" ContentType="application/vnd.openxmlformats-officedocument.presentationml.notesSlide+xml"/>
  <Override PartName="/ppt/charts/chart19.xml" ContentType="application/vnd.openxmlformats-officedocument.drawingml.chart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691" r:id="rId3"/>
    <p:sldMasterId id="2147483744" r:id="rId4"/>
    <p:sldMasterId id="2147483827" r:id="rId5"/>
    <p:sldMasterId id="2147483957" r:id="rId6"/>
    <p:sldMasterId id="2147483966" r:id="rId7"/>
    <p:sldMasterId id="2147483977" r:id="rId8"/>
    <p:sldMasterId id="2147484001" r:id="rId9"/>
    <p:sldMasterId id="2147484011" r:id="rId10"/>
    <p:sldMasterId id="2147484018" r:id="rId11"/>
  </p:sldMasterIdLst>
  <p:notesMasterIdLst>
    <p:notesMasterId r:id="rId59"/>
  </p:notesMasterIdLst>
  <p:sldIdLst>
    <p:sldId id="765" r:id="rId12"/>
    <p:sldId id="1734" r:id="rId13"/>
    <p:sldId id="1735" r:id="rId14"/>
    <p:sldId id="1825" r:id="rId15"/>
    <p:sldId id="1812" r:id="rId16"/>
    <p:sldId id="1824" r:id="rId17"/>
    <p:sldId id="1349" r:id="rId18"/>
    <p:sldId id="1813" r:id="rId19"/>
    <p:sldId id="1828" r:id="rId20"/>
    <p:sldId id="1569" r:id="rId21"/>
    <p:sldId id="1773" r:id="rId22"/>
    <p:sldId id="1774" r:id="rId23"/>
    <p:sldId id="1786" r:id="rId24"/>
    <p:sldId id="1787" r:id="rId25"/>
    <p:sldId id="1777" r:id="rId26"/>
    <p:sldId id="1778" r:id="rId27"/>
    <p:sldId id="1769" r:id="rId28"/>
    <p:sldId id="1770" r:id="rId29"/>
    <p:sldId id="1616" r:id="rId30"/>
    <p:sldId id="1590" r:id="rId31"/>
    <p:sldId id="1637" r:id="rId32"/>
    <p:sldId id="1826" r:id="rId33"/>
    <p:sldId id="1827" r:id="rId34"/>
    <p:sldId id="1794" r:id="rId35"/>
    <p:sldId id="1795" r:id="rId36"/>
    <p:sldId id="1796" r:id="rId37"/>
    <p:sldId id="1797" r:id="rId38"/>
    <p:sldId id="1799" r:id="rId39"/>
    <p:sldId id="1814" r:id="rId40"/>
    <p:sldId id="1800" r:id="rId41"/>
    <p:sldId id="1815" r:id="rId42"/>
    <p:sldId id="1819" r:id="rId43"/>
    <p:sldId id="1820" r:id="rId44"/>
    <p:sldId id="1829" r:id="rId45"/>
    <p:sldId id="1821" r:id="rId46"/>
    <p:sldId id="1822" r:id="rId47"/>
    <p:sldId id="1818" r:id="rId48"/>
    <p:sldId id="1830" r:id="rId49"/>
    <p:sldId id="1801" r:id="rId50"/>
    <p:sldId id="1816" r:id="rId51"/>
    <p:sldId id="1817" r:id="rId52"/>
    <p:sldId id="1804" r:id="rId53"/>
    <p:sldId id="1805" r:id="rId54"/>
    <p:sldId id="1806" r:id="rId55"/>
    <p:sldId id="1807" r:id="rId56"/>
    <p:sldId id="1823" r:id="rId57"/>
    <p:sldId id="1809" r:id="rId58"/>
  </p:sldIdLst>
  <p:sldSz cx="12192000" cy="6858000"/>
  <p:notesSz cx="6858000" cy="9144000"/>
  <p:custDataLst>
    <p:tags r:id="rId60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24" userDrawn="1">
          <p15:clr>
            <a:srgbClr val="A4A3A4"/>
          </p15:clr>
        </p15:guide>
        <p15:guide id="2" pos="41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FFCCFF"/>
    <a:srgbClr val="F7E7E9"/>
    <a:srgbClr val="00FF00"/>
    <a:srgbClr val="305983"/>
    <a:srgbClr val="D31145"/>
    <a:srgbClr val="E7F6EA"/>
    <a:srgbClr val="92D050"/>
    <a:srgbClr val="00CD61"/>
    <a:srgbClr val="F262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668" autoAdjust="0"/>
    <p:restoredTop sz="93721" autoAdjust="0"/>
  </p:normalViewPr>
  <p:slideViewPr>
    <p:cSldViewPr snapToGrid="0">
      <p:cViewPr varScale="1">
        <p:scale>
          <a:sx n="100" d="100"/>
          <a:sy n="100" d="100"/>
        </p:scale>
        <p:origin x="666" y="96"/>
      </p:cViewPr>
      <p:guideLst>
        <p:guide orient="horz" pos="4224"/>
        <p:guide pos="41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772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50" Type="http://schemas.openxmlformats.org/officeDocument/2006/relationships/slide" Target="slides/slide39.xml"/><Relationship Id="rId55" Type="http://schemas.openxmlformats.org/officeDocument/2006/relationships/slide" Target="slides/slide44.xml"/><Relationship Id="rId63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41" Type="http://schemas.openxmlformats.org/officeDocument/2006/relationships/slide" Target="slides/slide30.xml"/><Relationship Id="rId54" Type="http://schemas.openxmlformats.org/officeDocument/2006/relationships/slide" Target="slides/slide43.xml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slide" Target="slides/slide42.xml"/><Relationship Id="rId58" Type="http://schemas.openxmlformats.org/officeDocument/2006/relationships/slide" Target="slides/slide47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slide" Target="slides/slide46.xml"/><Relationship Id="rId61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slide" Target="slides/slide41.xml"/><Relationship Id="rId60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slide" Target="slides/slide45.xml"/><Relationship Id="rId64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0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59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18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1:$A$131</c:f>
              <c:numCache>
                <c:formatCode>m/d/yyyy</c:formatCode>
                <c:ptCount val="101"/>
                <c:pt idx="0">
                  <c:v>44165</c:v>
                </c:pt>
                <c:pt idx="1">
                  <c:v>44166</c:v>
                </c:pt>
                <c:pt idx="2">
                  <c:v>44167</c:v>
                </c:pt>
                <c:pt idx="3">
                  <c:v>44168</c:v>
                </c:pt>
                <c:pt idx="4">
                  <c:v>44169</c:v>
                </c:pt>
                <c:pt idx="5">
                  <c:v>44170</c:v>
                </c:pt>
                <c:pt idx="6">
                  <c:v>44171</c:v>
                </c:pt>
                <c:pt idx="7">
                  <c:v>44172</c:v>
                </c:pt>
                <c:pt idx="8">
                  <c:v>44173</c:v>
                </c:pt>
                <c:pt idx="9">
                  <c:v>44174</c:v>
                </c:pt>
                <c:pt idx="10">
                  <c:v>44175</c:v>
                </c:pt>
                <c:pt idx="11">
                  <c:v>44176</c:v>
                </c:pt>
                <c:pt idx="12">
                  <c:v>44177</c:v>
                </c:pt>
                <c:pt idx="13">
                  <c:v>44178</c:v>
                </c:pt>
                <c:pt idx="14">
                  <c:v>44179</c:v>
                </c:pt>
                <c:pt idx="15">
                  <c:v>44180</c:v>
                </c:pt>
                <c:pt idx="16">
                  <c:v>44181</c:v>
                </c:pt>
                <c:pt idx="17">
                  <c:v>44182</c:v>
                </c:pt>
                <c:pt idx="18">
                  <c:v>44183</c:v>
                </c:pt>
                <c:pt idx="19">
                  <c:v>44184</c:v>
                </c:pt>
                <c:pt idx="20">
                  <c:v>44185</c:v>
                </c:pt>
                <c:pt idx="21">
                  <c:v>44186</c:v>
                </c:pt>
                <c:pt idx="22">
                  <c:v>44187</c:v>
                </c:pt>
                <c:pt idx="23">
                  <c:v>44188</c:v>
                </c:pt>
                <c:pt idx="24">
                  <c:v>44189</c:v>
                </c:pt>
                <c:pt idx="25">
                  <c:v>44190</c:v>
                </c:pt>
                <c:pt idx="26">
                  <c:v>44191</c:v>
                </c:pt>
                <c:pt idx="27">
                  <c:v>44192</c:v>
                </c:pt>
                <c:pt idx="28">
                  <c:v>44193</c:v>
                </c:pt>
                <c:pt idx="29">
                  <c:v>44194</c:v>
                </c:pt>
                <c:pt idx="30">
                  <c:v>44195</c:v>
                </c:pt>
                <c:pt idx="31">
                  <c:v>44196</c:v>
                </c:pt>
                <c:pt idx="32">
                  <c:v>44197</c:v>
                </c:pt>
                <c:pt idx="33">
                  <c:v>44198</c:v>
                </c:pt>
                <c:pt idx="34">
                  <c:v>44199</c:v>
                </c:pt>
                <c:pt idx="35">
                  <c:v>44200</c:v>
                </c:pt>
                <c:pt idx="36">
                  <c:v>44201</c:v>
                </c:pt>
                <c:pt idx="37">
                  <c:v>44202</c:v>
                </c:pt>
                <c:pt idx="38">
                  <c:v>44203</c:v>
                </c:pt>
                <c:pt idx="39">
                  <c:v>44204</c:v>
                </c:pt>
                <c:pt idx="40">
                  <c:v>44205</c:v>
                </c:pt>
                <c:pt idx="41">
                  <c:v>44206</c:v>
                </c:pt>
                <c:pt idx="42">
                  <c:v>44207</c:v>
                </c:pt>
                <c:pt idx="43">
                  <c:v>44208</c:v>
                </c:pt>
                <c:pt idx="44">
                  <c:v>44209</c:v>
                </c:pt>
                <c:pt idx="45">
                  <c:v>44210</c:v>
                </c:pt>
                <c:pt idx="46">
                  <c:v>44211</c:v>
                </c:pt>
                <c:pt idx="47">
                  <c:v>44212</c:v>
                </c:pt>
                <c:pt idx="48">
                  <c:v>44213</c:v>
                </c:pt>
                <c:pt idx="49">
                  <c:v>44214</c:v>
                </c:pt>
                <c:pt idx="50">
                  <c:v>44215</c:v>
                </c:pt>
                <c:pt idx="51">
                  <c:v>44216</c:v>
                </c:pt>
                <c:pt idx="52">
                  <c:v>44217</c:v>
                </c:pt>
                <c:pt idx="53">
                  <c:v>44218</c:v>
                </c:pt>
                <c:pt idx="54">
                  <c:v>44219</c:v>
                </c:pt>
                <c:pt idx="55">
                  <c:v>44220</c:v>
                </c:pt>
                <c:pt idx="56">
                  <c:v>44221</c:v>
                </c:pt>
                <c:pt idx="57">
                  <c:v>44222</c:v>
                </c:pt>
                <c:pt idx="58">
                  <c:v>44223</c:v>
                </c:pt>
                <c:pt idx="59">
                  <c:v>44224</c:v>
                </c:pt>
                <c:pt idx="60">
                  <c:v>44225</c:v>
                </c:pt>
                <c:pt idx="61">
                  <c:v>44226</c:v>
                </c:pt>
                <c:pt idx="62">
                  <c:v>44227</c:v>
                </c:pt>
                <c:pt idx="63">
                  <c:v>44228</c:v>
                </c:pt>
                <c:pt idx="64">
                  <c:v>44229</c:v>
                </c:pt>
                <c:pt idx="65">
                  <c:v>44230</c:v>
                </c:pt>
                <c:pt idx="66">
                  <c:v>44231</c:v>
                </c:pt>
                <c:pt idx="67">
                  <c:v>44232</c:v>
                </c:pt>
                <c:pt idx="68">
                  <c:v>44233</c:v>
                </c:pt>
                <c:pt idx="69">
                  <c:v>44234</c:v>
                </c:pt>
                <c:pt idx="70">
                  <c:v>44235</c:v>
                </c:pt>
                <c:pt idx="71">
                  <c:v>44236</c:v>
                </c:pt>
                <c:pt idx="72">
                  <c:v>44237</c:v>
                </c:pt>
                <c:pt idx="73">
                  <c:v>44238</c:v>
                </c:pt>
                <c:pt idx="74">
                  <c:v>44239</c:v>
                </c:pt>
                <c:pt idx="75">
                  <c:v>44240</c:v>
                </c:pt>
                <c:pt idx="76">
                  <c:v>44241</c:v>
                </c:pt>
                <c:pt idx="77">
                  <c:v>44242</c:v>
                </c:pt>
                <c:pt idx="78">
                  <c:v>44243</c:v>
                </c:pt>
                <c:pt idx="79">
                  <c:v>44244</c:v>
                </c:pt>
                <c:pt idx="80">
                  <c:v>44245</c:v>
                </c:pt>
                <c:pt idx="81">
                  <c:v>44246</c:v>
                </c:pt>
                <c:pt idx="82">
                  <c:v>44247</c:v>
                </c:pt>
                <c:pt idx="83">
                  <c:v>44248</c:v>
                </c:pt>
                <c:pt idx="84">
                  <c:v>44249</c:v>
                </c:pt>
                <c:pt idx="85">
                  <c:v>44250</c:v>
                </c:pt>
                <c:pt idx="86">
                  <c:v>44251</c:v>
                </c:pt>
                <c:pt idx="87">
                  <c:v>44252</c:v>
                </c:pt>
                <c:pt idx="88">
                  <c:v>44253</c:v>
                </c:pt>
                <c:pt idx="89">
                  <c:v>44254</c:v>
                </c:pt>
                <c:pt idx="90">
                  <c:v>44255</c:v>
                </c:pt>
                <c:pt idx="91">
                  <c:v>44256</c:v>
                </c:pt>
                <c:pt idx="92">
                  <c:v>44257</c:v>
                </c:pt>
                <c:pt idx="93">
                  <c:v>44258</c:v>
                </c:pt>
                <c:pt idx="94">
                  <c:v>44259</c:v>
                </c:pt>
                <c:pt idx="95">
                  <c:v>44260</c:v>
                </c:pt>
                <c:pt idx="96">
                  <c:v>44261</c:v>
                </c:pt>
                <c:pt idx="97">
                  <c:v>44262</c:v>
                </c:pt>
                <c:pt idx="98">
                  <c:v>44263</c:v>
                </c:pt>
                <c:pt idx="99">
                  <c:v>44264</c:v>
                </c:pt>
                <c:pt idx="100">
                  <c:v>44265</c:v>
                </c:pt>
              </c:numCache>
            </c:numRef>
          </c:cat>
          <c:val>
            <c:numRef>
              <c:f>Sheet1!$B$31:$B$131</c:f>
              <c:numCache>
                <c:formatCode>General</c:formatCode>
                <c:ptCount val="101"/>
                <c:pt idx="0">
                  <c:v>3572</c:v>
                </c:pt>
                <c:pt idx="1">
                  <c:v>5180</c:v>
                </c:pt>
                <c:pt idx="2">
                  <c:v>4561</c:v>
                </c:pt>
                <c:pt idx="3">
                  <c:v>4624</c:v>
                </c:pt>
                <c:pt idx="4">
                  <c:v>4747</c:v>
                </c:pt>
                <c:pt idx="5">
                  <c:v>3312</c:v>
                </c:pt>
                <c:pt idx="6">
                  <c:v>1112</c:v>
                </c:pt>
                <c:pt idx="7">
                  <c:v>4251</c:v>
                </c:pt>
                <c:pt idx="8">
                  <c:v>5855</c:v>
                </c:pt>
                <c:pt idx="9">
                  <c:v>6414</c:v>
                </c:pt>
                <c:pt idx="10">
                  <c:v>5872</c:v>
                </c:pt>
                <c:pt idx="11">
                  <c:v>6209</c:v>
                </c:pt>
                <c:pt idx="12">
                  <c:v>3655</c:v>
                </c:pt>
                <c:pt idx="13">
                  <c:v>1998</c:v>
                </c:pt>
                <c:pt idx="14">
                  <c:v>5176</c:v>
                </c:pt>
                <c:pt idx="15">
                  <c:v>7908</c:v>
                </c:pt>
                <c:pt idx="16">
                  <c:v>8256</c:v>
                </c:pt>
                <c:pt idx="17">
                  <c:v>7614</c:v>
                </c:pt>
                <c:pt idx="18">
                  <c:v>8836</c:v>
                </c:pt>
                <c:pt idx="19">
                  <c:v>5326</c:v>
                </c:pt>
                <c:pt idx="20">
                  <c:v>3401</c:v>
                </c:pt>
                <c:pt idx="21">
                  <c:v>7950</c:v>
                </c:pt>
                <c:pt idx="22">
                  <c:v>10910</c:v>
                </c:pt>
                <c:pt idx="23">
                  <c:v>14138</c:v>
                </c:pt>
                <c:pt idx="24">
                  <c:v>4373</c:v>
                </c:pt>
                <c:pt idx="25">
                  <c:v>2671</c:v>
                </c:pt>
                <c:pt idx="26">
                  <c:v>3031</c:v>
                </c:pt>
                <c:pt idx="27">
                  <c:v>3780</c:v>
                </c:pt>
                <c:pt idx="28">
                  <c:v>10935</c:v>
                </c:pt>
                <c:pt idx="29">
                  <c:v>16468</c:v>
                </c:pt>
                <c:pt idx="30">
                  <c:v>17059</c:v>
                </c:pt>
                <c:pt idx="31">
                  <c:v>13306</c:v>
                </c:pt>
                <c:pt idx="32">
                  <c:v>3446</c:v>
                </c:pt>
                <c:pt idx="33">
                  <c:v>4984</c:v>
                </c:pt>
                <c:pt idx="34">
                  <c:v>6267</c:v>
                </c:pt>
                <c:pt idx="35">
                  <c:v>12952</c:v>
                </c:pt>
                <c:pt idx="36">
                  <c:v>17397</c:v>
                </c:pt>
                <c:pt idx="37">
                  <c:v>17767</c:v>
                </c:pt>
                <c:pt idx="38">
                  <c:v>14880</c:v>
                </c:pt>
                <c:pt idx="39">
                  <c:v>13099</c:v>
                </c:pt>
                <c:pt idx="40">
                  <c:v>8436</c:v>
                </c:pt>
                <c:pt idx="41">
                  <c:v>4311</c:v>
                </c:pt>
                <c:pt idx="42">
                  <c:v>9383</c:v>
                </c:pt>
                <c:pt idx="43">
                  <c:v>10805</c:v>
                </c:pt>
                <c:pt idx="44">
                  <c:v>10914</c:v>
                </c:pt>
                <c:pt idx="45">
                  <c:v>8086</c:v>
                </c:pt>
                <c:pt idx="46">
                  <c:v>9299</c:v>
                </c:pt>
                <c:pt idx="47">
                  <c:v>5240</c:v>
                </c:pt>
                <c:pt idx="48">
                  <c:v>2641</c:v>
                </c:pt>
                <c:pt idx="49">
                  <c:v>7666</c:v>
                </c:pt>
                <c:pt idx="50">
                  <c:v>9608</c:v>
                </c:pt>
                <c:pt idx="51">
                  <c:v>8215</c:v>
                </c:pt>
                <c:pt idx="52">
                  <c:v>7532</c:v>
                </c:pt>
                <c:pt idx="53">
                  <c:v>8465</c:v>
                </c:pt>
                <c:pt idx="54">
                  <c:v>4239</c:v>
                </c:pt>
                <c:pt idx="55">
                  <c:v>2394</c:v>
                </c:pt>
                <c:pt idx="56">
                  <c:v>6973</c:v>
                </c:pt>
                <c:pt idx="57">
                  <c:v>9194</c:v>
                </c:pt>
                <c:pt idx="58">
                  <c:v>8502</c:v>
                </c:pt>
                <c:pt idx="59">
                  <c:v>8009</c:v>
                </c:pt>
                <c:pt idx="60">
                  <c:v>8052</c:v>
                </c:pt>
                <c:pt idx="61">
                  <c:v>4055</c:v>
                </c:pt>
                <c:pt idx="62">
                  <c:v>2573</c:v>
                </c:pt>
                <c:pt idx="63">
                  <c:v>7215</c:v>
                </c:pt>
                <c:pt idx="64">
                  <c:v>9148</c:v>
                </c:pt>
                <c:pt idx="65">
                  <c:v>9666</c:v>
                </c:pt>
                <c:pt idx="66">
                  <c:v>8106</c:v>
                </c:pt>
                <c:pt idx="67">
                  <c:v>8621</c:v>
                </c:pt>
                <c:pt idx="68">
                  <c:v>4820</c:v>
                </c:pt>
                <c:pt idx="69">
                  <c:v>2451</c:v>
                </c:pt>
                <c:pt idx="70">
                  <c:v>7779</c:v>
                </c:pt>
                <c:pt idx="71">
                  <c:v>10281</c:v>
                </c:pt>
                <c:pt idx="72">
                  <c:v>9536</c:v>
                </c:pt>
                <c:pt idx="73">
                  <c:v>9017</c:v>
                </c:pt>
                <c:pt idx="74">
                  <c:v>8827</c:v>
                </c:pt>
                <c:pt idx="75">
                  <c:v>5141</c:v>
                </c:pt>
                <c:pt idx="76">
                  <c:v>2879</c:v>
                </c:pt>
                <c:pt idx="77">
                  <c:v>8904</c:v>
                </c:pt>
                <c:pt idx="78">
                  <c:v>12608</c:v>
                </c:pt>
                <c:pt idx="79">
                  <c:v>10937</c:v>
                </c:pt>
                <c:pt idx="80">
                  <c:v>11701</c:v>
                </c:pt>
                <c:pt idx="81">
                  <c:v>11286</c:v>
                </c:pt>
                <c:pt idx="82">
                  <c:v>6775</c:v>
                </c:pt>
                <c:pt idx="83">
                  <c:v>4065</c:v>
                </c:pt>
                <c:pt idx="84">
                  <c:v>11403</c:v>
                </c:pt>
                <c:pt idx="85">
                  <c:v>15839</c:v>
                </c:pt>
                <c:pt idx="86">
                  <c:v>13794</c:v>
                </c:pt>
                <c:pt idx="87">
                  <c:v>14584</c:v>
                </c:pt>
                <c:pt idx="88">
                  <c:v>14773</c:v>
                </c:pt>
                <c:pt idx="89">
                  <c:v>7822</c:v>
                </c:pt>
                <c:pt idx="90">
                  <c:v>4587</c:v>
                </c:pt>
                <c:pt idx="91">
                  <c:v>12322</c:v>
                </c:pt>
                <c:pt idx="92">
                  <c:v>16771</c:v>
                </c:pt>
                <c:pt idx="93">
                  <c:v>15237</c:v>
                </c:pt>
                <c:pt idx="94">
                  <c:v>14640</c:v>
                </c:pt>
                <c:pt idx="95">
                  <c:v>13162</c:v>
                </c:pt>
                <c:pt idx="96">
                  <c:v>9118</c:v>
                </c:pt>
                <c:pt idx="97">
                  <c:v>3977</c:v>
                </c:pt>
                <c:pt idx="98">
                  <c:v>10618</c:v>
                </c:pt>
                <c:pt idx="99">
                  <c:v>15325</c:v>
                </c:pt>
                <c:pt idx="100">
                  <c:v>143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FA-4F5C-AC94-D0AE2A98CF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7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3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A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717-4C2D-B900-AE90B97A7EC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717-4C2D-B900-AE90B97A7ECF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717-4C2D-B900-AE90B97A7ECF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List1!$A$2:$A$15</c:f>
              <c:numCache>
                <c:formatCode>#,##0.00</c:formatCode>
                <c:ptCount val="14"/>
                <c:pt idx="0">
                  <c:v>1889.8034604401141</c:v>
                </c:pt>
                <c:pt idx="1">
                  <c:v>1734.4992319249145</c:v>
                </c:pt>
                <c:pt idx="2">
                  <c:v>1527.8246205733558</c:v>
                </c:pt>
                <c:pt idx="3">
                  <c:v>1493.6897090784307</c:v>
                </c:pt>
                <c:pt idx="4">
                  <c:v>1437.8796993755348</c:v>
                </c:pt>
                <c:pt idx="5">
                  <c:v>1317.0082891955444</c:v>
                </c:pt>
                <c:pt idx="6">
                  <c:v>1274.4993708880806</c:v>
                </c:pt>
                <c:pt idx="7">
                  <c:v>1111.6155184258207</c:v>
                </c:pt>
                <c:pt idx="8">
                  <c:v>1073.642011811598</c:v>
                </c:pt>
                <c:pt idx="9">
                  <c:v>885.07559416140293</c:v>
                </c:pt>
                <c:pt idx="10">
                  <c:v>847.3463787693363</c:v>
                </c:pt>
                <c:pt idx="11">
                  <c:v>823.35040279290354</c:v>
                </c:pt>
                <c:pt idx="12">
                  <c:v>743.47727634878436</c:v>
                </c:pt>
                <c:pt idx="13">
                  <c:v>590.1967322440814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List1!#REF!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6-3717-4C2D-B900-AE90B97A7E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axId val="915368544"/>
        <c:axId val="915366976"/>
      </c:barChart>
      <c:catAx>
        <c:axId val="915368544"/>
        <c:scaling>
          <c:orientation val="maxMin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915366976"/>
        <c:crosses val="autoZero"/>
        <c:auto val="1"/>
        <c:lblAlgn val="ctr"/>
        <c:lblOffset val="100"/>
        <c:noMultiLvlLbl val="0"/>
      </c:catAx>
      <c:valAx>
        <c:axId val="915366976"/>
        <c:scaling>
          <c:orientation val="minMax"/>
          <c:max val="2500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15368544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10:$A$210</c:f>
              <c:numCache>
                <c:formatCode>d/m/yyyy</c:formatCode>
                <c:ptCount val="101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 formatCode="m/d/yyyy">
                  <c:v>44254</c:v>
                </c:pt>
                <c:pt idx="89" formatCode="m/d/yyyy">
                  <c:v>44255</c:v>
                </c:pt>
                <c:pt idx="90" formatCode="m/d/yyyy">
                  <c:v>44256</c:v>
                </c:pt>
                <c:pt idx="91" formatCode="m/d/yyyy">
                  <c:v>44257</c:v>
                </c:pt>
                <c:pt idx="92" formatCode="m/d/yyyy">
                  <c:v>44258</c:v>
                </c:pt>
                <c:pt idx="93" formatCode="m/d/yyyy">
                  <c:v>44259</c:v>
                </c:pt>
                <c:pt idx="94" formatCode="m/d/yyyy">
                  <c:v>44260</c:v>
                </c:pt>
                <c:pt idx="95" formatCode="m/d/yyyy">
                  <c:v>44261</c:v>
                </c:pt>
                <c:pt idx="96" formatCode="m/d/yyyy">
                  <c:v>44262</c:v>
                </c:pt>
                <c:pt idx="97" formatCode="m/d/yyyy">
                  <c:v>44263</c:v>
                </c:pt>
                <c:pt idx="98" formatCode="m/d/yyyy">
                  <c:v>44264</c:v>
                </c:pt>
                <c:pt idx="99" formatCode="m/d/yyyy">
                  <c:v>44265</c:v>
                </c:pt>
                <c:pt idx="100" formatCode="m/d/yyyy">
                  <c:v>44266</c:v>
                </c:pt>
              </c:numCache>
            </c:numRef>
          </c:cat>
          <c:val>
            <c:numRef>
              <c:f>Sheet1!$B$110:$B$210</c:f>
              <c:numCache>
                <c:formatCode>General</c:formatCode>
                <c:ptCount val="101"/>
                <c:pt idx="0">
                  <c:v>913</c:v>
                </c:pt>
                <c:pt idx="1">
                  <c:v>887</c:v>
                </c:pt>
                <c:pt idx="2">
                  <c:v>828</c:v>
                </c:pt>
                <c:pt idx="3">
                  <c:v>883</c:v>
                </c:pt>
                <c:pt idx="4">
                  <c:v>644</c:v>
                </c:pt>
                <c:pt idx="5">
                  <c:v>225</c:v>
                </c:pt>
                <c:pt idx="6">
                  <c:v>835</c:v>
                </c:pt>
                <c:pt idx="7">
                  <c:v>1043</c:v>
                </c:pt>
                <c:pt idx="8">
                  <c:v>1125</c:v>
                </c:pt>
                <c:pt idx="9">
                  <c:v>1000</c:v>
                </c:pt>
                <c:pt idx="10">
                  <c:v>1017</c:v>
                </c:pt>
                <c:pt idx="11">
                  <c:v>610</c:v>
                </c:pt>
                <c:pt idx="12">
                  <c:v>354</c:v>
                </c:pt>
                <c:pt idx="13">
                  <c:v>984</c:v>
                </c:pt>
                <c:pt idx="14">
                  <c:v>1178</c:v>
                </c:pt>
                <c:pt idx="15">
                  <c:v>1318</c:v>
                </c:pt>
                <c:pt idx="16">
                  <c:v>1167</c:v>
                </c:pt>
                <c:pt idx="17">
                  <c:v>1360</c:v>
                </c:pt>
                <c:pt idx="18">
                  <c:v>766</c:v>
                </c:pt>
                <c:pt idx="19">
                  <c:v>535</c:v>
                </c:pt>
                <c:pt idx="20">
                  <c:v>1353</c:v>
                </c:pt>
                <c:pt idx="21">
                  <c:v>1692</c:v>
                </c:pt>
                <c:pt idx="22">
                  <c:v>2090</c:v>
                </c:pt>
                <c:pt idx="23">
                  <c:v>647</c:v>
                </c:pt>
                <c:pt idx="24">
                  <c:v>529</c:v>
                </c:pt>
                <c:pt idx="25">
                  <c:v>610</c:v>
                </c:pt>
                <c:pt idx="26">
                  <c:v>676</c:v>
                </c:pt>
                <c:pt idx="27">
                  <c:v>1827</c:v>
                </c:pt>
                <c:pt idx="28">
                  <c:v>2535</c:v>
                </c:pt>
                <c:pt idx="29">
                  <c:v>2832</c:v>
                </c:pt>
                <c:pt idx="30">
                  <c:v>2280</c:v>
                </c:pt>
                <c:pt idx="31">
                  <c:v>755</c:v>
                </c:pt>
                <c:pt idx="32">
                  <c:v>1084</c:v>
                </c:pt>
                <c:pt idx="33">
                  <c:v>1164</c:v>
                </c:pt>
                <c:pt idx="34">
                  <c:v>2412</c:v>
                </c:pt>
                <c:pt idx="35">
                  <c:v>3136</c:v>
                </c:pt>
                <c:pt idx="36">
                  <c:v>3164</c:v>
                </c:pt>
                <c:pt idx="37">
                  <c:v>2944</c:v>
                </c:pt>
                <c:pt idx="38">
                  <c:v>2665</c:v>
                </c:pt>
                <c:pt idx="39">
                  <c:v>1663</c:v>
                </c:pt>
                <c:pt idx="40">
                  <c:v>813</c:v>
                </c:pt>
                <c:pt idx="41">
                  <c:v>1860</c:v>
                </c:pt>
                <c:pt idx="42">
                  <c:v>2027</c:v>
                </c:pt>
                <c:pt idx="43">
                  <c:v>2008</c:v>
                </c:pt>
                <c:pt idx="44">
                  <c:v>1496</c:v>
                </c:pt>
                <c:pt idx="45">
                  <c:v>1772</c:v>
                </c:pt>
                <c:pt idx="46">
                  <c:v>920</c:v>
                </c:pt>
                <c:pt idx="47">
                  <c:v>507</c:v>
                </c:pt>
                <c:pt idx="48">
                  <c:v>1341</c:v>
                </c:pt>
                <c:pt idx="49">
                  <c:v>1594</c:v>
                </c:pt>
                <c:pt idx="50">
                  <c:v>1487</c:v>
                </c:pt>
                <c:pt idx="51">
                  <c:v>1326</c:v>
                </c:pt>
                <c:pt idx="52">
                  <c:v>1478</c:v>
                </c:pt>
                <c:pt idx="53">
                  <c:v>723</c:v>
                </c:pt>
                <c:pt idx="54">
                  <c:v>411</c:v>
                </c:pt>
                <c:pt idx="55">
                  <c:v>1239</c:v>
                </c:pt>
                <c:pt idx="56">
                  <c:v>1411</c:v>
                </c:pt>
                <c:pt idx="57">
                  <c:v>1444</c:v>
                </c:pt>
                <c:pt idx="58">
                  <c:v>1327</c:v>
                </c:pt>
                <c:pt idx="59">
                  <c:v>1333</c:v>
                </c:pt>
                <c:pt idx="60">
                  <c:v>665</c:v>
                </c:pt>
                <c:pt idx="61">
                  <c:v>449</c:v>
                </c:pt>
                <c:pt idx="62">
                  <c:v>1202</c:v>
                </c:pt>
                <c:pt idx="63">
                  <c:v>1438</c:v>
                </c:pt>
                <c:pt idx="64">
                  <c:v>1432</c:v>
                </c:pt>
                <c:pt idx="65">
                  <c:v>1328</c:v>
                </c:pt>
                <c:pt idx="66">
                  <c:v>1412</c:v>
                </c:pt>
                <c:pt idx="67">
                  <c:v>771</c:v>
                </c:pt>
                <c:pt idx="68">
                  <c:v>448</c:v>
                </c:pt>
                <c:pt idx="69">
                  <c:v>1122</c:v>
                </c:pt>
                <c:pt idx="70">
                  <c:v>1466</c:v>
                </c:pt>
                <c:pt idx="71">
                  <c:v>1383</c:v>
                </c:pt>
                <c:pt idx="72">
                  <c:v>1387</c:v>
                </c:pt>
                <c:pt idx="73">
                  <c:v>1328</c:v>
                </c:pt>
                <c:pt idx="74">
                  <c:v>728</c:v>
                </c:pt>
                <c:pt idx="75">
                  <c:v>458</c:v>
                </c:pt>
                <c:pt idx="76">
                  <c:v>1303</c:v>
                </c:pt>
                <c:pt idx="77">
                  <c:v>1762</c:v>
                </c:pt>
                <c:pt idx="78">
                  <c:v>1461</c:v>
                </c:pt>
                <c:pt idx="79">
                  <c:v>1600</c:v>
                </c:pt>
                <c:pt idx="80">
                  <c:v>1718</c:v>
                </c:pt>
                <c:pt idx="81">
                  <c:v>946</c:v>
                </c:pt>
                <c:pt idx="82">
                  <c:v>583</c:v>
                </c:pt>
                <c:pt idx="83">
                  <c:v>1635</c:v>
                </c:pt>
                <c:pt idx="84">
                  <c:v>2109</c:v>
                </c:pt>
                <c:pt idx="85">
                  <c:v>1929</c:v>
                </c:pt>
                <c:pt idx="86">
                  <c:v>2008</c:v>
                </c:pt>
                <c:pt idx="87">
                  <c:v>2101</c:v>
                </c:pt>
                <c:pt idx="88">
                  <c:v>1050</c:v>
                </c:pt>
                <c:pt idx="89">
                  <c:v>660</c:v>
                </c:pt>
                <c:pt idx="90">
                  <c:v>1852</c:v>
                </c:pt>
                <c:pt idx="91">
                  <c:v>2400</c:v>
                </c:pt>
                <c:pt idx="92">
                  <c:v>2171</c:v>
                </c:pt>
                <c:pt idx="93">
                  <c:v>2056</c:v>
                </c:pt>
                <c:pt idx="94">
                  <c:v>1877</c:v>
                </c:pt>
                <c:pt idx="95">
                  <c:v>1307</c:v>
                </c:pt>
                <c:pt idx="96">
                  <c:v>645</c:v>
                </c:pt>
                <c:pt idx="97">
                  <c:v>1532</c:v>
                </c:pt>
                <c:pt idx="98">
                  <c:v>1936</c:v>
                </c:pt>
                <c:pt idx="99">
                  <c:v>1922</c:v>
                </c:pt>
                <c:pt idx="100">
                  <c:v>15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1B-48BD-A47B-B933932AE9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d/m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2:$A$192</c:f>
              <c:numCache>
                <c:formatCode>m/d/yyyy</c:formatCode>
                <c:ptCount val="101"/>
                <c:pt idx="0">
                  <c:v>44165</c:v>
                </c:pt>
                <c:pt idx="1">
                  <c:v>44166</c:v>
                </c:pt>
                <c:pt idx="2">
                  <c:v>44167</c:v>
                </c:pt>
                <c:pt idx="3">
                  <c:v>44168</c:v>
                </c:pt>
                <c:pt idx="4">
                  <c:v>44169</c:v>
                </c:pt>
                <c:pt idx="5">
                  <c:v>44170</c:v>
                </c:pt>
                <c:pt idx="6">
                  <c:v>44171</c:v>
                </c:pt>
                <c:pt idx="7">
                  <c:v>44172</c:v>
                </c:pt>
                <c:pt idx="8">
                  <c:v>44173</c:v>
                </c:pt>
                <c:pt idx="9">
                  <c:v>44174</c:v>
                </c:pt>
                <c:pt idx="10">
                  <c:v>44175</c:v>
                </c:pt>
                <c:pt idx="11">
                  <c:v>44176</c:v>
                </c:pt>
                <c:pt idx="12">
                  <c:v>44177</c:v>
                </c:pt>
                <c:pt idx="13">
                  <c:v>44178</c:v>
                </c:pt>
                <c:pt idx="14">
                  <c:v>44179</c:v>
                </c:pt>
                <c:pt idx="15">
                  <c:v>44180</c:v>
                </c:pt>
                <c:pt idx="16">
                  <c:v>44181</c:v>
                </c:pt>
                <c:pt idx="17">
                  <c:v>44182</c:v>
                </c:pt>
                <c:pt idx="18">
                  <c:v>44183</c:v>
                </c:pt>
                <c:pt idx="19">
                  <c:v>44184</c:v>
                </c:pt>
                <c:pt idx="20">
                  <c:v>44185</c:v>
                </c:pt>
                <c:pt idx="21">
                  <c:v>44186</c:v>
                </c:pt>
                <c:pt idx="22">
                  <c:v>44187</c:v>
                </c:pt>
                <c:pt idx="23">
                  <c:v>44188</c:v>
                </c:pt>
                <c:pt idx="24">
                  <c:v>44189</c:v>
                </c:pt>
                <c:pt idx="25">
                  <c:v>44190</c:v>
                </c:pt>
                <c:pt idx="26">
                  <c:v>44191</c:v>
                </c:pt>
                <c:pt idx="27">
                  <c:v>44192</c:v>
                </c:pt>
                <c:pt idx="28">
                  <c:v>44193</c:v>
                </c:pt>
                <c:pt idx="29">
                  <c:v>44194</c:v>
                </c:pt>
                <c:pt idx="30">
                  <c:v>44195</c:v>
                </c:pt>
                <c:pt idx="31">
                  <c:v>44196</c:v>
                </c:pt>
                <c:pt idx="32">
                  <c:v>44197</c:v>
                </c:pt>
                <c:pt idx="33">
                  <c:v>44198</c:v>
                </c:pt>
                <c:pt idx="34">
                  <c:v>44199</c:v>
                </c:pt>
                <c:pt idx="35">
                  <c:v>44200</c:v>
                </c:pt>
                <c:pt idx="36">
                  <c:v>44201</c:v>
                </c:pt>
                <c:pt idx="37">
                  <c:v>44202</c:v>
                </c:pt>
                <c:pt idx="38">
                  <c:v>44203</c:v>
                </c:pt>
                <c:pt idx="39">
                  <c:v>44204</c:v>
                </c:pt>
                <c:pt idx="40">
                  <c:v>44205</c:v>
                </c:pt>
                <c:pt idx="41">
                  <c:v>44206</c:v>
                </c:pt>
                <c:pt idx="42">
                  <c:v>44207</c:v>
                </c:pt>
                <c:pt idx="43">
                  <c:v>44208</c:v>
                </c:pt>
                <c:pt idx="44">
                  <c:v>44209</c:v>
                </c:pt>
                <c:pt idx="45">
                  <c:v>44210</c:v>
                </c:pt>
                <c:pt idx="46">
                  <c:v>44211</c:v>
                </c:pt>
                <c:pt idx="47">
                  <c:v>44212</c:v>
                </c:pt>
                <c:pt idx="48">
                  <c:v>44213</c:v>
                </c:pt>
                <c:pt idx="49">
                  <c:v>44214</c:v>
                </c:pt>
                <c:pt idx="50">
                  <c:v>44215</c:v>
                </c:pt>
                <c:pt idx="51">
                  <c:v>44216</c:v>
                </c:pt>
                <c:pt idx="52">
                  <c:v>44217</c:v>
                </c:pt>
                <c:pt idx="53">
                  <c:v>44218</c:v>
                </c:pt>
                <c:pt idx="54">
                  <c:v>44219</c:v>
                </c:pt>
                <c:pt idx="55">
                  <c:v>44220</c:v>
                </c:pt>
                <c:pt idx="56">
                  <c:v>44221</c:v>
                </c:pt>
                <c:pt idx="57">
                  <c:v>44222</c:v>
                </c:pt>
                <c:pt idx="58">
                  <c:v>44223</c:v>
                </c:pt>
                <c:pt idx="59">
                  <c:v>44224</c:v>
                </c:pt>
                <c:pt idx="60">
                  <c:v>44225</c:v>
                </c:pt>
                <c:pt idx="61">
                  <c:v>44226</c:v>
                </c:pt>
                <c:pt idx="62">
                  <c:v>44227</c:v>
                </c:pt>
                <c:pt idx="63">
                  <c:v>44228</c:v>
                </c:pt>
                <c:pt idx="64">
                  <c:v>44229</c:v>
                </c:pt>
                <c:pt idx="65">
                  <c:v>44230</c:v>
                </c:pt>
                <c:pt idx="66">
                  <c:v>44231</c:v>
                </c:pt>
                <c:pt idx="67">
                  <c:v>44232</c:v>
                </c:pt>
                <c:pt idx="68">
                  <c:v>44233</c:v>
                </c:pt>
                <c:pt idx="69">
                  <c:v>44234</c:v>
                </c:pt>
                <c:pt idx="70">
                  <c:v>44235</c:v>
                </c:pt>
                <c:pt idx="71">
                  <c:v>44236</c:v>
                </c:pt>
                <c:pt idx="72">
                  <c:v>44237</c:v>
                </c:pt>
                <c:pt idx="73">
                  <c:v>44238</c:v>
                </c:pt>
                <c:pt idx="74">
                  <c:v>44239</c:v>
                </c:pt>
                <c:pt idx="75">
                  <c:v>44240</c:v>
                </c:pt>
                <c:pt idx="76">
                  <c:v>44241</c:v>
                </c:pt>
                <c:pt idx="77">
                  <c:v>44242</c:v>
                </c:pt>
                <c:pt idx="78">
                  <c:v>44243</c:v>
                </c:pt>
                <c:pt idx="79">
                  <c:v>44244</c:v>
                </c:pt>
                <c:pt idx="80">
                  <c:v>44245</c:v>
                </c:pt>
                <c:pt idx="81">
                  <c:v>44246</c:v>
                </c:pt>
                <c:pt idx="82">
                  <c:v>44247</c:v>
                </c:pt>
                <c:pt idx="83">
                  <c:v>44248</c:v>
                </c:pt>
                <c:pt idx="84">
                  <c:v>44249</c:v>
                </c:pt>
                <c:pt idx="85">
                  <c:v>44250</c:v>
                </c:pt>
                <c:pt idx="86">
                  <c:v>44251</c:v>
                </c:pt>
                <c:pt idx="87">
                  <c:v>44252</c:v>
                </c:pt>
                <c:pt idx="88">
                  <c:v>44253</c:v>
                </c:pt>
                <c:pt idx="89">
                  <c:v>44254</c:v>
                </c:pt>
                <c:pt idx="90">
                  <c:v>44255</c:v>
                </c:pt>
                <c:pt idx="91">
                  <c:v>44256</c:v>
                </c:pt>
                <c:pt idx="92">
                  <c:v>44257</c:v>
                </c:pt>
                <c:pt idx="93">
                  <c:v>44258</c:v>
                </c:pt>
                <c:pt idx="94">
                  <c:v>44259</c:v>
                </c:pt>
                <c:pt idx="95">
                  <c:v>44260</c:v>
                </c:pt>
                <c:pt idx="96">
                  <c:v>44261</c:v>
                </c:pt>
                <c:pt idx="97">
                  <c:v>44262</c:v>
                </c:pt>
                <c:pt idx="98">
                  <c:v>44263</c:v>
                </c:pt>
                <c:pt idx="99">
                  <c:v>44264</c:v>
                </c:pt>
                <c:pt idx="100">
                  <c:v>44265</c:v>
                </c:pt>
              </c:numCache>
            </c:numRef>
          </c:cat>
          <c:val>
            <c:numRef>
              <c:f>Sheet1!$B$92:$B$192</c:f>
              <c:numCache>
                <c:formatCode>General</c:formatCode>
                <c:ptCount val="101"/>
                <c:pt idx="0">
                  <c:v>784</c:v>
                </c:pt>
                <c:pt idx="1">
                  <c:v>726</c:v>
                </c:pt>
                <c:pt idx="2">
                  <c:v>710</c:v>
                </c:pt>
                <c:pt idx="3">
                  <c:v>712</c:v>
                </c:pt>
                <c:pt idx="4">
                  <c:v>708</c:v>
                </c:pt>
                <c:pt idx="5">
                  <c:v>684</c:v>
                </c:pt>
                <c:pt idx="6">
                  <c:v>671</c:v>
                </c:pt>
                <c:pt idx="7">
                  <c:v>709</c:v>
                </c:pt>
                <c:pt idx="8">
                  <c:v>698</c:v>
                </c:pt>
                <c:pt idx="9">
                  <c:v>684</c:v>
                </c:pt>
                <c:pt idx="10">
                  <c:v>710</c:v>
                </c:pt>
                <c:pt idx="11">
                  <c:v>698</c:v>
                </c:pt>
                <c:pt idx="12">
                  <c:v>694</c:v>
                </c:pt>
                <c:pt idx="13">
                  <c:v>708</c:v>
                </c:pt>
                <c:pt idx="14">
                  <c:v>726</c:v>
                </c:pt>
                <c:pt idx="15">
                  <c:v>722</c:v>
                </c:pt>
                <c:pt idx="16">
                  <c:v>735</c:v>
                </c:pt>
                <c:pt idx="17">
                  <c:v>724</c:v>
                </c:pt>
                <c:pt idx="18">
                  <c:v>726</c:v>
                </c:pt>
                <c:pt idx="19">
                  <c:v>740</c:v>
                </c:pt>
                <c:pt idx="20">
                  <c:v>750</c:v>
                </c:pt>
                <c:pt idx="21">
                  <c:v>760</c:v>
                </c:pt>
                <c:pt idx="22">
                  <c:v>765</c:v>
                </c:pt>
                <c:pt idx="23">
                  <c:v>775</c:v>
                </c:pt>
                <c:pt idx="24">
                  <c:v>744</c:v>
                </c:pt>
                <c:pt idx="25">
                  <c:v>765</c:v>
                </c:pt>
                <c:pt idx="26">
                  <c:v>803</c:v>
                </c:pt>
                <c:pt idx="27">
                  <c:v>844</c:v>
                </c:pt>
                <c:pt idx="28">
                  <c:v>904</c:v>
                </c:pt>
                <c:pt idx="29">
                  <c:v>939</c:v>
                </c:pt>
                <c:pt idx="30">
                  <c:v>954</c:v>
                </c:pt>
                <c:pt idx="31">
                  <c:v>970</c:v>
                </c:pt>
                <c:pt idx="32">
                  <c:v>947</c:v>
                </c:pt>
                <c:pt idx="33">
                  <c:v>957</c:v>
                </c:pt>
                <c:pt idx="34">
                  <c:v>1002</c:v>
                </c:pt>
                <c:pt idx="35">
                  <c:v>1088</c:v>
                </c:pt>
                <c:pt idx="36">
                  <c:v>1109</c:v>
                </c:pt>
                <c:pt idx="37">
                  <c:v>1147</c:v>
                </c:pt>
                <c:pt idx="38">
                  <c:v>1146</c:v>
                </c:pt>
                <c:pt idx="39">
                  <c:v>1140</c:v>
                </c:pt>
                <c:pt idx="40">
                  <c:v>1146</c:v>
                </c:pt>
                <c:pt idx="41">
                  <c:v>1172</c:v>
                </c:pt>
                <c:pt idx="42">
                  <c:v>1185</c:v>
                </c:pt>
                <c:pt idx="43">
                  <c:v>1170</c:v>
                </c:pt>
                <c:pt idx="44">
                  <c:v>1167</c:v>
                </c:pt>
                <c:pt idx="45">
                  <c:v>1176</c:v>
                </c:pt>
                <c:pt idx="46">
                  <c:v>1167</c:v>
                </c:pt>
                <c:pt idx="47">
                  <c:v>1157</c:v>
                </c:pt>
                <c:pt idx="48">
                  <c:v>1128</c:v>
                </c:pt>
                <c:pt idx="49">
                  <c:v>1153</c:v>
                </c:pt>
                <c:pt idx="50">
                  <c:v>1134</c:v>
                </c:pt>
                <c:pt idx="51">
                  <c:v>1109</c:v>
                </c:pt>
                <c:pt idx="52">
                  <c:v>1102</c:v>
                </c:pt>
                <c:pt idx="53">
                  <c:v>1107</c:v>
                </c:pt>
                <c:pt idx="54">
                  <c:v>1090</c:v>
                </c:pt>
                <c:pt idx="55">
                  <c:v>1057</c:v>
                </c:pt>
                <c:pt idx="56">
                  <c:v>1079</c:v>
                </c:pt>
                <c:pt idx="57">
                  <c:v>1047</c:v>
                </c:pt>
                <c:pt idx="58">
                  <c:v>1038</c:v>
                </c:pt>
                <c:pt idx="59">
                  <c:v>1019</c:v>
                </c:pt>
                <c:pt idx="60">
                  <c:v>1019</c:v>
                </c:pt>
                <c:pt idx="61">
                  <c:v>1023</c:v>
                </c:pt>
                <c:pt idx="62">
                  <c:v>1040</c:v>
                </c:pt>
                <c:pt idx="63">
                  <c:v>1079</c:v>
                </c:pt>
                <c:pt idx="64">
                  <c:v>1088</c:v>
                </c:pt>
                <c:pt idx="65">
                  <c:v>1076</c:v>
                </c:pt>
                <c:pt idx="66">
                  <c:v>1104</c:v>
                </c:pt>
                <c:pt idx="67">
                  <c:v>1089</c:v>
                </c:pt>
                <c:pt idx="68">
                  <c:v>1072</c:v>
                </c:pt>
                <c:pt idx="69">
                  <c:v>1098</c:v>
                </c:pt>
                <c:pt idx="70">
                  <c:v>1106</c:v>
                </c:pt>
                <c:pt idx="71">
                  <c:v>1089</c:v>
                </c:pt>
                <c:pt idx="72">
                  <c:v>1102</c:v>
                </c:pt>
                <c:pt idx="73">
                  <c:v>1110</c:v>
                </c:pt>
                <c:pt idx="74">
                  <c:v>1106</c:v>
                </c:pt>
                <c:pt idx="75">
                  <c:v>1100</c:v>
                </c:pt>
                <c:pt idx="76">
                  <c:v>1140</c:v>
                </c:pt>
                <c:pt idx="77">
                  <c:v>1164</c:v>
                </c:pt>
                <c:pt idx="78">
                  <c:v>1208</c:v>
                </c:pt>
                <c:pt idx="79">
                  <c:v>1239</c:v>
                </c:pt>
                <c:pt idx="80">
                  <c:v>1266</c:v>
                </c:pt>
                <c:pt idx="81">
                  <c:v>1267</c:v>
                </c:pt>
                <c:pt idx="82">
                  <c:v>1267</c:v>
                </c:pt>
                <c:pt idx="83">
                  <c:v>1280</c:v>
                </c:pt>
                <c:pt idx="84">
                  <c:v>1362</c:v>
                </c:pt>
                <c:pt idx="85">
                  <c:v>1387</c:v>
                </c:pt>
                <c:pt idx="86">
                  <c:v>1403</c:v>
                </c:pt>
                <c:pt idx="87">
                  <c:v>1457</c:v>
                </c:pt>
                <c:pt idx="88">
                  <c:v>1436</c:v>
                </c:pt>
                <c:pt idx="89">
                  <c:v>1465</c:v>
                </c:pt>
                <c:pt idx="90">
                  <c:v>1503</c:v>
                </c:pt>
                <c:pt idx="91">
                  <c:v>1586</c:v>
                </c:pt>
                <c:pt idx="92">
                  <c:v>1598</c:v>
                </c:pt>
                <c:pt idx="93">
                  <c:v>1624</c:v>
                </c:pt>
                <c:pt idx="94">
                  <c:v>1653</c:v>
                </c:pt>
                <c:pt idx="95">
                  <c:v>1671</c:v>
                </c:pt>
                <c:pt idx="96">
                  <c:v>1670</c:v>
                </c:pt>
                <c:pt idx="97">
                  <c:v>1676</c:v>
                </c:pt>
                <c:pt idx="98">
                  <c:v>1765</c:v>
                </c:pt>
                <c:pt idx="99">
                  <c:v>1801</c:v>
                </c:pt>
                <c:pt idx="100">
                  <c:v>18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9F-4E57-9DB2-D42E49A1C4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5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2:$A$192</c:f>
              <c:numCache>
                <c:formatCode>m/d/yyyy</c:formatCode>
                <c:ptCount val="101"/>
                <c:pt idx="0">
                  <c:v>44165</c:v>
                </c:pt>
                <c:pt idx="1">
                  <c:v>44166</c:v>
                </c:pt>
                <c:pt idx="2">
                  <c:v>44167</c:v>
                </c:pt>
                <c:pt idx="3">
                  <c:v>44168</c:v>
                </c:pt>
                <c:pt idx="4">
                  <c:v>44169</c:v>
                </c:pt>
                <c:pt idx="5">
                  <c:v>44170</c:v>
                </c:pt>
                <c:pt idx="6">
                  <c:v>44171</c:v>
                </c:pt>
                <c:pt idx="7">
                  <c:v>44172</c:v>
                </c:pt>
                <c:pt idx="8">
                  <c:v>44173</c:v>
                </c:pt>
                <c:pt idx="9">
                  <c:v>44174</c:v>
                </c:pt>
                <c:pt idx="10">
                  <c:v>44175</c:v>
                </c:pt>
                <c:pt idx="11">
                  <c:v>44176</c:v>
                </c:pt>
                <c:pt idx="12">
                  <c:v>44177</c:v>
                </c:pt>
                <c:pt idx="13">
                  <c:v>44178</c:v>
                </c:pt>
                <c:pt idx="14">
                  <c:v>44179</c:v>
                </c:pt>
                <c:pt idx="15">
                  <c:v>44180</c:v>
                </c:pt>
                <c:pt idx="16">
                  <c:v>44181</c:v>
                </c:pt>
                <c:pt idx="17">
                  <c:v>44182</c:v>
                </c:pt>
                <c:pt idx="18">
                  <c:v>44183</c:v>
                </c:pt>
                <c:pt idx="19">
                  <c:v>44184</c:v>
                </c:pt>
                <c:pt idx="20">
                  <c:v>44185</c:v>
                </c:pt>
                <c:pt idx="21">
                  <c:v>44186</c:v>
                </c:pt>
                <c:pt idx="22">
                  <c:v>44187</c:v>
                </c:pt>
                <c:pt idx="23">
                  <c:v>44188</c:v>
                </c:pt>
                <c:pt idx="24">
                  <c:v>44189</c:v>
                </c:pt>
                <c:pt idx="25">
                  <c:v>44190</c:v>
                </c:pt>
                <c:pt idx="26">
                  <c:v>44191</c:v>
                </c:pt>
                <c:pt idx="27">
                  <c:v>44192</c:v>
                </c:pt>
                <c:pt idx="28">
                  <c:v>44193</c:v>
                </c:pt>
                <c:pt idx="29">
                  <c:v>44194</c:v>
                </c:pt>
                <c:pt idx="30">
                  <c:v>44195</c:v>
                </c:pt>
                <c:pt idx="31">
                  <c:v>44196</c:v>
                </c:pt>
                <c:pt idx="32">
                  <c:v>44197</c:v>
                </c:pt>
                <c:pt idx="33">
                  <c:v>44198</c:v>
                </c:pt>
                <c:pt idx="34">
                  <c:v>44199</c:v>
                </c:pt>
                <c:pt idx="35">
                  <c:v>44200</c:v>
                </c:pt>
                <c:pt idx="36">
                  <c:v>44201</c:v>
                </c:pt>
                <c:pt idx="37">
                  <c:v>44202</c:v>
                </c:pt>
                <c:pt idx="38">
                  <c:v>44203</c:v>
                </c:pt>
                <c:pt idx="39">
                  <c:v>44204</c:v>
                </c:pt>
                <c:pt idx="40">
                  <c:v>44205</c:v>
                </c:pt>
                <c:pt idx="41">
                  <c:v>44206</c:v>
                </c:pt>
                <c:pt idx="42">
                  <c:v>44207</c:v>
                </c:pt>
                <c:pt idx="43">
                  <c:v>44208</c:v>
                </c:pt>
                <c:pt idx="44">
                  <c:v>44209</c:v>
                </c:pt>
                <c:pt idx="45">
                  <c:v>44210</c:v>
                </c:pt>
                <c:pt idx="46">
                  <c:v>44211</c:v>
                </c:pt>
                <c:pt idx="47">
                  <c:v>44212</c:v>
                </c:pt>
                <c:pt idx="48">
                  <c:v>44213</c:v>
                </c:pt>
                <c:pt idx="49">
                  <c:v>44214</c:v>
                </c:pt>
                <c:pt idx="50">
                  <c:v>44215</c:v>
                </c:pt>
                <c:pt idx="51">
                  <c:v>44216</c:v>
                </c:pt>
                <c:pt idx="52">
                  <c:v>44217</c:v>
                </c:pt>
                <c:pt idx="53">
                  <c:v>44218</c:v>
                </c:pt>
                <c:pt idx="54">
                  <c:v>44219</c:v>
                </c:pt>
                <c:pt idx="55">
                  <c:v>44220</c:v>
                </c:pt>
                <c:pt idx="56">
                  <c:v>44221</c:v>
                </c:pt>
                <c:pt idx="57">
                  <c:v>44222</c:v>
                </c:pt>
                <c:pt idx="58">
                  <c:v>44223</c:v>
                </c:pt>
                <c:pt idx="59">
                  <c:v>44224</c:v>
                </c:pt>
                <c:pt idx="60">
                  <c:v>44225</c:v>
                </c:pt>
                <c:pt idx="61">
                  <c:v>44226</c:v>
                </c:pt>
                <c:pt idx="62">
                  <c:v>44227</c:v>
                </c:pt>
                <c:pt idx="63">
                  <c:v>44228</c:v>
                </c:pt>
                <c:pt idx="64">
                  <c:v>44229</c:v>
                </c:pt>
                <c:pt idx="65">
                  <c:v>44230</c:v>
                </c:pt>
                <c:pt idx="66">
                  <c:v>44231</c:v>
                </c:pt>
                <c:pt idx="67">
                  <c:v>44232</c:v>
                </c:pt>
                <c:pt idx="68">
                  <c:v>44233</c:v>
                </c:pt>
                <c:pt idx="69">
                  <c:v>44234</c:v>
                </c:pt>
                <c:pt idx="70">
                  <c:v>44235</c:v>
                </c:pt>
                <c:pt idx="71">
                  <c:v>44236</c:v>
                </c:pt>
                <c:pt idx="72">
                  <c:v>44237</c:v>
                </c:pt>
                <c:pt idx="73">
                  <c:v>44238</c:v>
                </c:pt>
                <c:pt idx="74">
                  <c:v>44239</c:v>
                </c:pt>
                <c:pt idx="75">
                  <c:v>44240</c:v>
                </c:pt>
                <c:pt idx="76">
                  <c:v>44241</c:v>
                </c:pt>
                <c:pt idx="77">
                  <c:v>44242</c:v>
                </c:pt>
                <c:pt idx="78">
                  <c:v>44243</c:v>
                </c:pt>
                <c:pt idx="79">
                  <c:v>44244</c:v>
                </c:pt>
                <c:pt idx="80">
                  <c:v>44245</c:v>
                </c:pt>
                <c:pt idx="81">
                  <c:v>44246</c:v>
                </c:pt>
                <c:pt idx="82">
                  <c:v>44247</c:v>
                </c:pt>
                <c:pt idx="83">
                  <c:v>44248</c:v>
                </c:pt>
                <c:pt idx="84">
                  <c:v>44249</c:v>
                </c:pt>
                <c:pt idx="85">
                  <c:v>44250</c:v>
                </c:pt>
                <c:pt idx="86">
                  <c:v>44251</c:v>
                </c:pt>
                <c:pt idx="87">
                  <c:v>44252</c:v>
                </c:pt>
                <c:pt idx="88">
                  <c:v>44253</c:v>
                </c:pt>
                <c:pt idx="89">
                  <c:v>44254</c:v>
                </c:pt>
                <c:pt idx="90">
                  <c:v>44255</c:v>
                </c:pt>
                <c:pt idx="91">
                  <c:v>44256</c:v>
                </c:pt>
                <c:pt idx="92">
                  <c:v>44257</c:v>
                </c:pt>
                <c:pt idx="93">
                  <c:v>44258</c:v>
                </c:pt>
                <c:pt idx="94">
                  <c:v>44259</c:v>
                </c:pt>
                <c:pt idx="95">
                  <c:v>44260</c:v>
                </c:pt>
                <c:pt idx="96">
                  <c:v>44261</c:v>
                </c:pt>
                <c:pt idx="97">
                  <c:v>44262</c:v>
                </c:pt>
                <c:pt idx="98">
                  <c:v>44263</c:v>
                </c:pt>
                <c:pt idx="99">
                  <c:v>44264</c:v>
                </c:pt>
                <c:pt idx="100">
                  <c:v>44265</c:v>
                </c:pt>
              </c:numCache>
            </c:numRef>
          </c:cat>
          <c:val>
            <c:numRef>
              <c:f>Sheet1!$B$92:$B$192</c:f>
              <c:numCache>
                <c:formatCode>General</c:formatCode>
                <c:ptCount val="101"/>
                <c:pt idx="0">
                  <c:v>358</c:v>
                </c:pt>
                <c:pt idx="1">
                  <c:v>329</c:v>
                </c:pt>
                <c:pt idx="2">
                  <c:v>316</c:v>
                </c:pt>
                <c:pt idx="3">
                  <c:v>304</c:v>
                </c:pt>
                <c:pt idx="4">
                  <c:v>302</c:v>
                </c:pt>
                <c:pt idx="5">
                  <c:v>308</c:v>
                </c:pt>
                <c:pt idx="6">
                  <c:v>304</c:v>
                </c:pt>
                <c:pt idx="7">
                  <c:v>302</c:v>
                </c:pt>
                <c:pt idx="8">
                  <c:v>295</c:v>
                </c:pt>
                <c:pt idx="9">
                  <c:v>289</c:v>
                </c:pt>
                <c:pt idx="10">
                  <c:v>307</c:v>
                </c:pt>
                <c:pt idx="11">
                  <c:v>318</c:v>
                </c:pt>
                <c:pt idx="12">
                  <c:v>311</c:v>
                </c:pt>
                <c:pt idx="13">
                  <c:v>310</c:v>
                </c:pt>
                <c:pt idx="14">
                  <c:v>322</c:v>
                </c:pt>
                <c:pt idx="15">
                  <c:v>317</c:v>
                </c:pt>
                <c:pt idx="16">
                  <c:v>322</c:v>
                </c:pt>
                <c:pt idx="17">
                  <c:v>312</c:v>
                </c:pt>
                <c:pt idx="18">
                  <c:v>320</c:v>
                </c:pt>
                <c:pt idx="19">
                  <c:v>315</c:v>
                </c:pt>
                <c:pt idx="20">
                  <c:v>310</c:v>
                </c:pt>
                <c:pt idx="21">
                  <c:v>314</c:v>
                </c:pt>
                <c:pt idx="22">
                  <c:v>325</c:v>
                </c:pt>
                <c:pt idx="23">
                  <c:v>340</c:v>
                </c:pt>
                <c:pt idx="24">
                  <c:v>328</c:v>
                </c:pt>
                <c:pt idx="25">
                  <c:v>338</c:v>
                </c:pt>
                <c:pt idx="26">
                  <c:v>359</c:v>
                </c:pt>
                <c:pt idx="27">
                  <c:v>380</c:v>
                </c:pt>
                <c:pt idx="28">
                  <c:v>404</c:v>
                </c:pt>
                <c:pt idx="29">
                  <c:v>426</c:v>
                </c:pt>
                <c:pt idx="30">
                  <c:v>444</c:v>
                </c:pt>
                <c:pt idx="31">
                  <c:v>453</c:v>
                </c:pt>
                <c:pt idx="32">
                  <c:v>449</c:v>
                </c:pt>
                <c:pt idx="33">
                  <c:v>471</c:v>
                </c:pt>
                <c:pt idx="34">
                  <c:v>492</c:v>
                </c:pt>
                <c:pt idx="35">
                  <c:v>531</c:v>
                </c:pt>
                <c:pt idx="36">
                  <c:v>553</c:v>
                </c:pt>
                <c:pt idx="37">
                  <c:v>573</c:v>
                </c:pt>
                <c:pt idx="38">
                  <c:v>586</c:v>
                </c:pt>
                <c:pt idx="39">
                  <c:v>556</c:v>
                </c:pt>
                <c:pt idx="40">
                  <c:v>550</c:v>
                </c:pt>
                <c:pt idx="41">
                  <c:v>569</c:v>
                </c:pt>
                <c:pt idx="42">
                  <c:v>586</c:v>
                </c:pt>
                <c:pt idx="43">
                  <c:v>580</c:v>
                </c:pt>
                <c:pt idx="44">
                  <c:v>581</c:v>
                </c:pt>
                <c:pt idx="45">
                  <c:v>598</c:v>
                </c:pt>
                <c:pt idx="46">
                  <c:v>610</c:v>
                </c:pt>
                <c:pt idx="47">
                  <c:v>599</c:v>
                </c:pt>
                <c:pt idx="48">
                  <c:v>603</c:v>
                </c:pt>
                <c:pt idx="49">
                  <c:v>602</c:v>
                </c:pt>
                <c:pt idx="50">
                  <c:v>591</c:v>
                </c:pt>
                <c:pt idx="51">
                  <c:v>575</c:v>
                </c:pt>
                <c:pt idx="52">
                  <c:v>572</c:v>
                </c:pt>
                <c:pt idx="53">
                  <c:v>555</c:v>
                </c:pt>
                <c:pt idx="54">
                  <c:v>554</c:v>
                </c:pt>
                <c:pt idx="55">
                  <c:v>556</c:v>
                </c:pt>
                <c:pt idx="56">
                  <c:v>555</c:v>
                </c:pt>
                <c:pt idx="57">
                  <c:v>562</c:v>
                </c:pt>
                <c:pt idx="58">
                  <c:v>564</c:v>
                </c:pt>
                <c:pt idx="59">
                  <c:v>559</c:v>
                </c:pt>
                <c:pt idx="60">
                  <c:v>530</c:v>
                </c:pt>
                <c:pt idx="61">
                  <c:v>537</c:v>
                </c:pt>
                <c:pt idx="62">
                  <c:v>545</c:v>
                </c:pt>
                <c:pt idx="63">
                  <c:v>565</c:v>
                </c:pt>
                <c:pt idx="64">
                  <c:v>547</c:v>
                </c:pt>
                <c:pt idx="65">
                  <c:v>546</c:v>
                </c:pt>
                <c:pt idx="66">
                  <c:v>565</c:v>
                </c:pt>
                <c:pt idx="67">
                  <c:v>557</c:v>
                </c:pt>
                <c:pt idx="68">
                  <c:v>543</c:v>
                </c:pt>
                <c:pt idx="69">
                  <c:v>559</c:v>
                </c:pt>
                <c:pt idx="70">
                  <c:v>553</c:v>
                </c:pt>
                <c:pt idx="71">
                  <c:v>537</c:v>
                </c:pt>
                <c:pt idx="72">
                  <c:v>536</c:v>
                </c:pt>
                <c:pt idx="73">
                  <c:v>561</c:v>
                </c:pt>
                <c:pt idx="74">
                  <c:v>571</c:v>
                </c:pt>
                <c:pt idx="75">
                  <c:v>577</c:v>
                </c:pt>
                <c:pt idx="76">
                  <c:v>595</c:v>
                </c:pt>
                <c:pt idx="77">
                  <c:v>588</c:v>
                </c:pt>
                <c:pt idx="78">
                  <c:v>614</c:v>
                </c:pt>
                <c:pt idx="79">
                  <c:v>627</c:v>
                </c:pt>
                <c:pt idx="80">
                  <c:v>637</c:v>
                </c:pt>
                <c:pt idx="81">
                  <c:v>650</c:v>
                </c:pt>
                <c:pt idx="82">
                  <c:v>670</c:v>
                </c:pt>
                <c:pt idx="83">
                  <c:v>680</c:v>
                </c:pt>
                <c:pt idx="84">
                  <c:v>702</c:v>
                </c:pt>
                <c:pt idx="85">
                  <c:v>719</c:v>
                </c:pt>
                <c:pt idx="86">
                  <c:v>706</c:v>
                </c:pt>
                <c:pt idx="87">
                  <c:v>755</c:v>
                </c:pt>
                <c:pt idx="88">
                  <c:v>748</c:v>
                </c:pt>
                <c:pt idx="89">
                  <c:v>743</c:v>
                </c:pt>
                <c:pt idx="90">
                  <c:v>762</c:v>
                </c:pt>
                <c:pt idx="91">
                  <c:v>804</c:v>
                </c:pt>
                <c:pt idx="92">
                  <c:v>819</c:v>
                </c:pt>
                <c:pt idx="93">
                  <c:v>823</c:v>
                </c:pt>
                <c:pt idx="94">
                  <c:v>850</c:v>
                </c:pt>
                <c:pt idx="95">
                  <c:v>863</c:v>
                </c:pt>
                <c:pt idx="96">
                  <c:v>870</c:v>
                </c:pt>
                <c:pt idx="97">
                  <c:v>888</c:v>
                </c:pt>
                <c:pt idx="98">
                  <c:v>935</c:v>
                </c:pt>
                <c:pt idx="99">
                  <c:v>918</c:v>
                </c:pt>
                <c:pt idx="100">
                  <c:v>9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ECD-48D0-AF0B-C32FD10237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12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E$2:$E$76</c:f>
              <c:numCache>
                <c:formatCode>General</c:formatCode>
                <c:ptCount val="75"/>
                <c:pt idx="0">
                  <c:v>6312</c:v>
                </c:pt>
                <c:pt idx="1">
                  <c:v>6349</c:v>
                </c:pt>
                <c:pt idx="2">
                  <c:v>6432</c:v>
                </c:pt>
                <c:pt idx="3">
                  <c:v>6529</c:v>
                </c:pt>
                <c:pt idx="4">
                  <c:v>6544</c:v>
                </c:pt>
                <c:pt idx="5">
                  <c:v>6142</c:v>
                </c:pt>
                <c:pt idx="6">
                  <c:v>6356</c:v>
                </c:pt>
                <c:pt idx="7">
                  <c:v>7059</c:v>
                </c:pt>
                <c:pt idx="8">
                  <c:v>7089</c:v>
                </c:pt>
                <c:pt idx="9">
                  <c:v>7181</c:v>
                </c:pt>
                <c:pt idx="10">
                  <c:v>7397</c:v>
                </c:pt>
                <c:pt idx="11">
                  <c:v>7500</c:v>
                </c:pt>
                <c:pt idx="12">
                  <c:v>7219</c:v>
                </c:pt>
                <c:pt idx="13">
                  <c:v>7488</c:v>
                </c:pt>
                <c:pt idx="14">
                  <c:v>8313</c:v>
                </c:pt>
                <c:pt idx="15">
                  <c:v>8503</c:v>
                </c:pt>
                <c:pt idx="16">
                  <c:v>8438</c:v>
                </c:pt>
                <c:pt idx="17">
                  <c:v>8440</c:v>
                </c:pt>
                <c:pt idx="18">
                  <c:v>8502</c:v>
                </c:pt>
                <c:pt idx="19">
                  <c:v>8119</c:v>
                </c:pt>
                <c:pt idx="20">
                  <c:v>8361</c:v>
                </c:pt>
                <c:pt idx="21">
                  <c:v>9018</c:v>
                </c:pt>
                <c:pt idx="22">
                  <c:v>89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D4B-49C3-A552-FC8CD36DEB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B$2:$B$76</c:f>
              <c:numCache>
                <c:formatCode>General</c:formatCode>
                <c:ptCount val="75"/>
                <c:pt idx="10">
                  <c:v>7089.0000000000036</c:v>
                </c:pt>
                <c:pt idx="11">
                  <c:v>7199.4756715842723</c:v>
                </c:pt>
                <c:pt idx="12">
                  <c:v>7323.5310625222701</c:v>
                </c:pt>
                <c:pt idx="13">
                  <c:v>7466.1467272331274</c:v>
                </c:pt>
                <c:pt idx="14">
                  <c:v>7626.5914642884209</c:v>
                </c:pt>
                <c:pt idx="15">
                  <c:v>7802.0784884780751</c:v>
                </c:pt>
                <c:pt idx="16">
                  <c:v>7993.5548683323659</c:v>
                </c:pt>
                <c:pt idx="17">
                  <c:v>8197.8123457349793</c:v>
                </c:pt>
                <c:pt idx="18">
                  <c:v>8410.9468574595812</c:v>
                </c:pt>
                <c:pt idx="19">
                  <c:v>8633.8709038087327</c:v>
                </c:pt>
                <c:pt idx="20">
                  <c:v>8866.7582849055616</c:v>
                </c:pt>
                <c:pt idx="21">
                  <c:v>9107.3963715448554</c:v>
                </c:pt>
                <c:pt idx="22">
                  <c:v>9353.6859238900142</c:v>
                </c:pt>
                <c:pt idx="23">
                  <c:v>9605.2466550954923</c:v>
                </c:pt>
                <c:pt idx="24">
                  <c:v>9862.115458770164</c:v>
                </c:pt>
                <c:pt idx="25">
                  <c:v>10125.307229884516</c:v>
                </c:pt>
                <c:pt idx="26">
                  <c:v>10394.182368281063</c:v>
                </c:pt>
                <c:pt idx="27">
                  <c:v>10666.957308901914</c:v>
                </c:pt>
                <c:pt idx="28">
                  <c:v>10941.425980190588</c:v>
                </c:pt>
                <c:pt idx="29">
                  <c:v>11217.125689619961</c:v>
                </c:pt>
                <c:pt idx="30">
                  <c:v>11493.941454732827</c:v>
                </c:pt>
                <c:pt idx="31">
                  <c:v>11771.447914168684</c:v>
                </c:pt>
                <c:pt idx="32">
                  <c:v>12049.066345645533</c:v>
                </c:pt>
                <c:pt idx="33">
                  <c:v>12326.15020722468</c:v>
                </c:pt>
                <c:pt idx="34">
                  <c:v>12602.041001775968</c:v>
                </c:pt>
                <c:pt idx="35">
                  <c:v>12875.672803685698</c:v>
                </c:pt>
                <c:pt idx="36">
                  <c:v>13146.558291311478</c:v>
                </c:pt>
                <c:pt idx="37">
                  <c:v>13413.733565045779</c:v>
                </c:pt>
                <c:pt idx="38">
                  <c:v>13676.318855306075</c:v>
                </c:pt>
                <c:pt idx="39">
                  <c:v>13933.758642698444</c:v>
                </c:pt>
                <c:pt idx="40">
                  <c:v>14185.427882116554</c:v>
                </c:pt>
                <c:pt idx="41">
                  <c:v>14430.561321021041</c:v>
                </c:pt>
                <c:pt idx="42">
                  <c:v>14668.23738522528</c:v>
                </c:pt>
                <c:pt idx="43">
                  <c:v>14897.757719810761</c:v>
                </c:pt>
                <c:pt idx="44">
                  <c:v>15118.311883220886</c:v>
                </c:pt>
                <c:pt idx="45">
                  <c:v>15329.170344585238</c:v>
                </c:pt>
                <c:pt idx="46">
                  <c:v>15529.690147031286</c:v>
                </c:pt>
                <c:pt idx="47">
                  <c:v>15719.124215303742</c:v>
                </c:pt>
                <c:pt idx="48">
                  <c:v>15896.770428500506</c:v>
                </c:pt>
                <c:pt idx="49">
                  <c:v>16061.945328685149</c:v>
                </c:pt>
                <c:pt idx="50">
                  <c:v>16213.966598710982</c:v>
                </c:pt>
                <c:pt idx="51">
                  <c:v>16352.22321805032</c:v>
                </c:pt>
                <c:pt idx="52">
                  <c:v>16476.144852263311</c:v>
                </c:pt>
                <c:pt idx="53">
                  <c:v>16585.235322278641</c:v>
                </c:pt>
                <c:pt idx="54">
                  <c:v>16679.028799471431</c:v>
                </c:pt>
                <c:pt idx="55">
                  <c:v>16757.095546402037</c:v>
                </c:pt>
                <c:pt idx="56">
                  <c:v>16819.052713041052</c:v>
                </c:pt>
                <c:pt idx="57">
                  <c:v>16864.550466113713</c:v>
                </c:pt>
                <c:pt idx="58">
                  <c:v>16893.294775961753</c:v>
                </c:pt>
                <c:pt idx="59">
                  <c:v>16905.071769074813</c:v>
                </c:pt>
                <c:pt idx="60">
                  <c:v>16899.768277302097</c:v>
                </c:pt>
                <c:pt idx="61">
                  <c:v>16877.365593774612</c:v>
                </c:pt>
                <c:pt idx="62">
                  <c:v>16837.833444892283</c:v>
                </c:pt>
                <c:pt idx="63">
                  <c:v>16781.219828086199</c:v>
                </c:pt>
                <c:pt idx="64">
                  <c:v>16707.677966265863</c:v>
                </c:pt>
                <c:pt idx="65">
                  <c:v>16617.382108424859</c:v>
                </c:pt>
                <c:pt idx="66">
                  <c:v>16510.569155374902</c:v>
                </c:pt>
                <c:pt idx="67">
                  <c:v>16387.56671709703</c:v>
                </c:pt>
                <c:pt idx="68">
                  <c:v>16248.783654321964</c:v>
                </c:pt>
                <c:pt idx="69">
                  <c:v>16094.655168119314</c:v>
                </c:pt>
                <c:pt idx="70">
                  <c:v>15925.683253650326</c:v>
                </c:pt>
                <c:pt idx="71">
                  <c:v>15742.413838034052</c:v>
                </c:pt>
                <c:pt idx="72">
                  <c:v>15545.444819375341</c:v>
                </c:pt>
                <c:pt idx="73">
                  <c:v>15335.418491216376</c:v>
                </c:pt>
                <c:pt idx="74">
                  <c:v>15113.017140121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216-4360-A02D-44DD6057B4B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C$2:$C$76</c:f>
              <c:numCache>
                <c:formatCode>General</c:formatCode>
                <c:ptCount val="75"/>
                <c:pt idx="10">
                  <c:v>7089.0000000000036</c:v>
                </c:pt>
                <c:pt idx="11">
                  <c:v>7199.4756715842723</c:v>
                </c:pt>
                <c:pt idx="12">
                  <c:v>7323.5310625222701</c:v>
                </c:pt>
                <c:pt idx="13">
                  <c:v>7466.1467272331274</c:v>
                </c:pt>
                <c:pt idx="14">
                  <c:v>7626.5914642884209</c:v>
                </c:pt>
                <c:pt idx="15">
                  <c:v>7802.0784884780751</c:v>
                </c:pt>
                <c:pt idx="16">
                  <c:v>7993.5548683323659</c:v>
                </c:pt>
                <c:pt idx="17">
                  <c:v>8197.8123457349793</c:v>
                </c:pt>
                <c:pt idx="18">
                  <c:v>8410.9468574595812</c:v>
                </c:pt>
                <c:pt idx="19">
                  <c:v>8633.8709038087327</c:v>
                </c:pt>
                <c:pt idx="20">
                  <c:v>8866.7582849055616</c:v>
                </c:pt>
                <c:pt idx="21">
                  <c:v>9107.3963715448554</c:v>
                </c:pt>
                <c:pt idx="22">
                  <c:v>9345.3351319703888</c:v>
                </c:pt>
                <c:pt idx="23">
                  <c:v>9574.419236387148</c:v>
                </c:pt>
                <c:pt idx="24">
                  <c:v>9791.5449496838137</c:v>
                </c:pt>
                <c:pt idx="25">
                  <c:v>9996.032215526966</c:v>
                </c:pt>
                <c:pt idx="26">
                  <c:v>10186.364794345527</c:v>
                </c:pt>
                <c:pt idx="27">
                  <c:v>10360.301081280109</c:v>
                </c:pt>
                <c:pt idx="28">
                  <c:v>10515.502161412469</c:v>
                </c:pt>
                <c:pt idx="29">
                  <c:v>10651.649023559359</c:v>
                </c:pt>
                <c:pt idx="30">
                  <c:v>10769.10330879775</c:v>
                </c:pt>
                <c:pt idx="31">
                  <c:v>10868.189373068637</c:v>
                </c:pt>
                <c:pt idx="32">
                  <c:v>10949.346727562253</c:v>
                </c:pt>
                <c:pt idx="33">
                  <c:v>11013.285607559314</c:v>
                </c:pt>
                <c:pt idx="34">
                  <c:v>11060.884523797777</c:v>
                </c:pt>
                <c:pt idx="35">
                  <c:v>11092.65951487432</c:v>
                </c:pt>
                <c:pt idx="36">
                  <c:v>11109.715109716777</c:v>
                </c:pt>
                <c:pt idx="37">
                  <c:v>11112.704936890044</c:v>
                </c:pt>
                <c:pt idx="38">
                  <c:v>11102.35610583744</c:v>
                </c:pt>
                <c:pt idx="39">
                  <c:v>11079.685245374692</c:v>
                </c:pt>
                <c:pt idx="40">
                  <c:v>11045.586063277704</c:v>
                </c:pt>
                <c:pt idx="41">
                  <c:v>11000.771827667772</c:v>
                </c:pt>
                <c:pt idx="42">
                  <c:v>10945.789115869778</c:v>
                </c:pt>
                <c:pt idx="43">
                  <c:v>10881.411978579757</c:v>
                </c:pt>
                <c:pt idx="44">
                  <c:v>10808.290316124952</c:v>
                </c:pt>
                <c:pt idx="45">
                  <c:v>10727.092300848797</c:v>
                </c:pt>
                <c:pt idx="46">
                  <c:v>10638.498542207739</c:v>
                </c:pt>
                <c:pt idx="47">
                  <c:v>10543.016546135781</c:v>
                </c:pt>
                <c:pt idx="48">
                  <c:v>10441.139444668002</c:v>
                </c:pt>
                <c:pt idx="49">
                  <c:v>10333.317584736142</c:v>
                </c:pt>
                <c:pt idx="50">
                  <c:v>10219.944305668119</c:v>
                </c:pt>
                <c:pt idx="51">
                  <c:v>10101.427063463654</c:v>
                </c:pt>
                <c:pt idx="52">
                  <c:v>9978.155353407552</c:v>
                </c:pt>
                <c:pt idx="53">
                  <c:v>9850.5352316502012</c:v>
                </c:pt>
                <c:pt idx="54">
                  <c:v>9718.9356602628504</c:v>
                </c:pt>
                <c:pt idx="55">
                  <c:v>9583.6919478325963</c:v>
                </c:pt>
                <c:pt idx="56">
                  <c:v>9445.1164115903375</c:v>
                </c:pt>
                <c:pt idx="57">
                  <c:v>9303.48503765229</c:v>
                </c:pt>
                <c:pt idx="58">
                  <c:v>9159.0581405169778</c:v>
                </c:pt>
                <c:pt idx="59">
                  <c:v>9012.1034142635617</c:v>
                </c:pt>
                <c:pt idx="60">
                  <c:v>8862.914916265745</c:v>
                </c:pt>
                <c:pt idx="61">
                  <c:v>8711.8055513815107</c:v>
                </c:pt>
                <c:pt idx="62">
                  <c:v>8559.002221356779</c:v>
                </c:pt>
                <c:pt idx="63">
                  <c:v>8404.7349870957496</c:v>
                </c:pt>
                <c:pt idx="64">
                  <c:v>8249.2640262736186</c:v>
                </c:pt>
                <c:pt idx="65">
                  <c:v>8092.7967328497343</c:v>
                </c:pt>
                <c:pt idx="66">
                  <c:v>7935.5295179108189</c:v>
                </c:pt>
                <c:pt idx="67">
                  <c:v>7777.6775713925217</c:v>
                </c:pt>
                <c:pt idx="68">
                  <c:v>7619.4682489273082</c:v>
                </c:pt>
                <c:pt idx="69">
                  <c:v>7461.0889870394021</c:v>
                </c:pt>
                <c:pt idx="70">
                  <c:v>7302.7308776868058</c:v>
                </c:pt>
                <c:pt idx="71">
                  <c:v>7144.5693789871184</c:v>
                </c:pt>
                <c:pt idx="72">
                  <c:v>6986.7768834951012</c:v>
                </c:pt>
                <c:pt idx="73">
                  <c:v>6829.5196870004265</c:v>
                </c:pt>
                <c:pt idx="74">
                  <c:v>6672.95748119702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D$2:$D$76</c:f>
              <c:numCache>
                <c:formatCode>General</c:formatCode>
                <c:ptCount val="75"/>
                <c:pt idx="10">
                  <c:v>7089.0000000000036</c:v>
                </c:pt>
                <c:pt idx="11">
                  <c:v>7199.4756715842723</c:v>
                </c:pt>
                <c:pt idx="12">
                  <c:v>7323.5310625222701</c:v>
                </c:pt>
                <c:pt idx="13">
                  <c:v>7466.1467272331274</c:v>
                </c:pt>
                <c:pt idx="14">
                  <c:v>7626.5914642884209</c:v>
                </c:pt>
                <c:pt idx="15">
                  <c:v>7802.0784884780751</c:v>
                </c:pt>
                <c:pt idx="16">
                  <c:v>7993.5548683323659</c:v>
                </c:pt>
                <c:pt idx="17">
                  <c:v>8197.8123457349793</c:v>
                </c:pt>
                <c:pt idx="18">
                  <c:v>8410.9468574595812</c:v>
                </c:pt>
                <c:pt idx="19">
                  <c:v>8633.8709038087327</c:v>
                </c:pt>
                <c:pt idx="20">
                  <c:v>8866.7582849055616</c:v>
                </c:pt>
                <c:pt idx="21">
                  <c:v>9107.3963715448554</c:v>
                </c:pt>
                <c:pt idx="22">
                  <c:v>9338.9516557829465</c:v>
                </c:pt>
                <c:pt idx="23">
                  <c:v>9550.8483861717305</c:v>
                </c:pt>
                <c:pt idx="24">
                  <c:v>9737.7574867910444</c:v>
                </c:pt>
                <c:pt idx="25">
                  <c:v>9898.0899945540059</c:v>
                </c:pt>
                <c:pt idx="26">
                  <c:v>10030.206463665194</c:v>
                </c:pt>
                <c:pt idx="27">
                  <c:v>10132.158540734139</c:v>
                </c:pt>
                <c:pt idx="28">
                  <c:v>10202.191463147952</c:v>
                </c:pt>
                <c:pt idx="29">
                  <c:v>10240.785320932262</c:v>
                </c:pt>
                <c:pt idx="30">
                  <c:v>10249.331232733633</c:v>
                </c:pt>
                <c:pt idx="31">
                  <c:v>10229.347597907883</c:v>
                </c:pt>
                <c:pt idx="32">
                  <c:v>10182.612238142048</c:v>
                </c:pt>
                <c:pt idx="33">
                  <c:v>10111.358347473068</c:v>
                </c:pt>
                <c:pt idx="34">
                  <c:v>10018.040410149517</c:v>
                </c:pt>
                <c:pt idx="35">
                  <c:v>9904.6894952275452</c:v>
                </c:pt>
                <c:pt idx="36">
                  <c:v>9773.8308727770636</c:v>
                </c:pt>
                <c:pt idx="37">
                  <c:v>9627.4555526615295</c:v>
                </c:pt>
                <c:pt idx="38">
                  <c:v>9467.5194456379304</c:v>
                </c:pt>
                <c:pt idx="39">
                  <c:v>9296.145088272302</c:v>
                </c:pt>
                <c:pt idx="40">
                  <c:v>9115.2006465279301</c:v>
                </c:pt>
                <c:pt idx="41">
                  <c:v>8926.259493857222</c:v>
                </c:pt>
                <c:pt idx="42">
                  <c:v>8730.6448535500112</c:v>
                </c:pt>
                <c:pt idx="43">
                  <c:v>8529.8433491366031</c:v>
                </c:pt>
                <c:pt idx="44">
                  <c:v>8325.1484199926545</c:v>
                </c:pt>
                <c:pt idx="45">
                  <c:v>8117.7708240823267</c:v>
                </c:pt>
                <c:pt idx="46">
                  <c:v>7908.8306325773801</c:v>
                </c:pt>
                <c:pt idx="47">
                  <c:v>7699.1832367334382</c:v>
                </c:pt>
                <c:pt idx="48">
                  <c:v>7489.5936926682471</c:v>
                </c:pt>
                <c:pt idx="49">
                  <c:v>7280.7149539904376</c:v>
                </c:pt>
                <c:pt idx="50">
                  <c:v>7073.0840402627055</c:v>
                </c:pt>
                <c:pt idx="51">
                  <c:v>6867.2014209237423</c:v>
                </c:pt>
                <c:pt idx="52">
                  <c:v>6663.5048720277673</c:v>
                </c:pt>
                <c:pt idx="53">
                  <c:v>6462.411377550191</c:v>
                </c:pt>
                <c:pt idx="54">
                  <c:v>6264.2620789674947</c:v>
                </c:pt>
                <c:pt idx="55">
                  <c:v>6069.3295943864869</c:v>
                </c:pt>
                <c:pt idx="56">
                  <c:v>5877.8339321753583</c:v>
                </c:pt>
                <c:pt idx="57">
                  <c:v>5689.9345510304011</c:v>
                </c:pt>
                <c:pt idx="58">
                  <c:v>5505.7539299676691</c:v>
                </c:pt>
                <c:pt idx="59">
                  <c:v>5325.4036332268579</c:v>
                </c:pt>
                <c:pt idx="60">
                  <c:v>5149.0056013976246</c:v>
                </c:pt>
                <c:pt idx="61">
                  <c:v>4976.6866565624141</c:v>
                </c:pt>
                <c:pt idx="62">
                  <c:v>4808.4770400813068</c:v>
                </c:pt>
                <c:pt idx="63">
                  <c:v>4644.4010465361971</c:v>
                </c:pt>
                <c:pt idx="64">
                  <c:v>4484.5054265515082</c:v>
                </c:pt>
                <c:pt idx="65">
                  <c:v>4328.7784106916351</c:v>
                </c:pt>
                <c:pt idx="66">
                  <c:v>4177.1920828169941</c:v>
                </c:pt>
                <c:pt idx="67">
                  <c:v>4029.7333884076584</c:v>
                </c:pt>
                <c:pt idx="68">
                  <c:v>3886.3991923585922</c:v>
                </c:pt>
                <c:pt idx="69">
                  <c:v>3747.1454151398461</c:v>
                </c:pt>
                <c:pt idx="70">
                  <c:v>3611.9316250742668</c:v>
                </c:pt>
                <c:pt idx="71">
                  <c:v>3480.70271474521</c:v>
                </c:pt>
                <c:pt idx="72">
                  <c:v>3353.402806175061</c:v>
                </c:pt>
                <c:pt idx="73">
                  <c:v>3229.9732465308011</c:v>
                </c:pt>
                <c:pt idx="74">
                  <c:v>3110.35233662311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0000242690338468"/>
          <c:y val="4.6874997116449491E-2"/>
          <c:w val="0.37218278064565652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E$2:$E$76</c:f>
              <c:numCache>
                <c:formatCode>General</c:formatCode>
                <c:ptCount val="75"/>
                <c:pt idx="0">
                  <c:v>1164</c:v>
                </c:pt>
                <c:pt idx="1">
                  <c:v>1208</c:v>
                </c:pt>
                <c:pt idx="2">
                  <c:v>1239</c:v>
                </c:pt>
                <c:pt idx="3">
                  <c:v>1266</c:v>
                </c:pt>
                <c:pt idx="4">
                  <c:v>1267</c:v>
                </c:pt>
                <c:pt idx="5">
                  <c:v>1267</c:v>
                </c:pt>
                <c:pt idx="6">
                  <c:v>1280</c:v>
                </c:pt>
                <c:pt idx="7">
                  <c:v>1362</c:v>
                </c:pt>
                <c:pt idx="8">
                  <c:v>1387</c:v>
                </c:pt>
                <c:pt idx="9">
                  <c:v>1403</c:v>
                </c:pt>
                <c:pt idx="10">
                  <c:v>1457</c:v>
                </c:pt>
                <c:pt idx="11">
                  <c:v>1436</c:v>
                </c:pt>
                <c:pt idx="12">
                  <c:v>1465</c:v>
                </c:pt>
                <c:pt idx="13">
                  <c:v>1503</c:v>
                </c:pt>
                <c:pt idx="14">
                  <c:v>1586</c:v>
                </c:pt>
                <c:pt idx="15">
                  <c:v>1598</c:v>
                </c:pt>
                <c:pt idx="16">
                  <c:v>1623</c:v>
                </c:pt>
                <c:pt idx="17">
                  <c:v>1651</c:v>
                </c:pt>
                <c:pt idx="18">
                  <c:v>1669</c:v>
                </c:pt>
                <c:pt idx="19">
                  <c:v>1668</c:v>
                </c:pt>
                <c:pt idx="20">
                  <c:v>1673</c:v>
                </c:pt>
                <c:pt idx="21">
                  <c:v>1763</c:v>
                </c:pt>
                <c:pt idx="22">
                  <c:v>18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297-40CB-B839-EFC1D54577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B$2:$B$76</c:f>
              <c:numCache>
                <c:formatCode>General</c:formatCode>
                <c:ptCount val="75"/>
                <c:pt idx="10">
                  <c:v>1369.948188582611</c:v>
                </c:pt>
                <c:pt idx="11">
                  <c:v>1391.2975955750383</c:v>
                </c:pt>
                <c:pt idx="12">
                  <c:v>1415.2712812993177</c:v>
                </c:pt>
                <c:pt idx="13">
                  <c:v>1442.8317371512212</c:v>
                </c:pt>
                <c:pt idx="14">
                  <c:v>1473.8376585641868</c:v>
                </c:pt>
                <c:pt idx="15">
                  <c:v>1507.7504997136252</c:v>
                </c:pt>
                <c:pt idx="16">
                  <c:v>1544.7532814512106</c:v>
                </c:pt>
                <c:pt idx="17">
                  <c:v>1584.2260083763288</c:v>
                </c:pt>
                <c:pt idx="18">
                  <c:v>1625.4142208550363</c:v>
                </c:pt>
                <c:pt idx="19">
                  <c:v>1668.4942594341767</c:v>
                </c:pt>
                <c:pt idx="20">
                  <c:v>1713.4997109615217</c:v>
                </c:pt>
                <c:pt idx="21">
                  <c:v>1760.0029851744553</c:v>
                </c:pt>
                <c:pt idx="22">
                  <c:v>1807.5984042888679</c:v>
                </c:pt>
                <c:pt idx="23">
                  <c:v>1856.2124779287976</c:v>
                </c:pt>
                <c:pt idx="24">
                  <c:v>1905.8523357786353</c:v>
                </c:pt>
                <c:pt idx="25">
                  <c:v>1956.7141061394698</c:v>
                </c:pt>
                <c:pt idx="26">
                  <c:v>2008.6741863766326</c:v>
                </c:pt>
                <c:pt idx="27">
                  <c:v>2061.3879028097354</c:v>
                </c:pt>
                <c:pt idx="28">
                  <c:v>2114.4289324407969</c:v>
                </c:pt>
                <c:pt idx="29">
                  <c:v>2167.7078600082282</c:v>
                </c:pt>
                <c:pt idx="30">
                  <c:v>2221.2024651693905</c:v>
                </c:pt>
                <c:pt idx="31">
                  <c:v>2274.8305469050551</c:v>
                </c:pt>
                <c:pt idx="32">
                  <c:v>2328.4802672208762</c:v>
                </c:pt>
                <c:pt idx="33">
                  <c:v>2382.0266819840058</c:v>
                </c:pt>
                <c:pt idx="34">
                  <c:v>2435.3425367226369</c:v>
                </c:pt>
                <c:pt idx="35">
                  <c:v>2488.2218414715194</c:v>
                </c:pt>
                <c:pt idx="36">
                  <c:v>2540.5704213962272</c:v>
                </c:pt>
                <c:pt idx="37">
                  <c:v>2592.2020030419276</c:v>
                </c:pt>
                <c:pt idx="38">
                  <c:v>2642.9465710685226</c:v>
                </c:pt>
                <c:pt idx="39">
                  <c:v>2692.6967714363132</c:v>
                </c:pt>
                <c:pt idx="40">
                  <c:v>2741.3318142720873</c:v>
                </c:pt>
                <c:pt idx="41">
                  <c:v>2788.7038146371924</c:v>
                </c:pt>
                <c:pt idx="42">
                  <c:v>2834.6346784580473</c:v>
                </c:pt>
                <c:pt idx="43">
                  <c:v>2878.9894487512133</c:v>
                </c:pt>
                <c:pt idx="44">
                  <c:v>2921.611507807223</c:v>
                </c:pt>
                <c:pt idx="45">
                  <c:v>2962.3598738945993</c:v>
                </c:pt>
                <c:pt idx="46">
                  <c:v>3001.110295693994</c:v>
                </c:pt>
                <c:pt idx="47">
                  <c:v>3037.7184010241795</c:v>
                </c:pt>
                <c:pt idx="48">
                  <c:v>3072.048505125952</c:v>
                </c:pt>
                <c:pt idx="49">
                  <c:v>3103.9685298554296</c:v>
                </c:pt>
                <c:pt idx="50">
                  <c:v>3133.3466175261756</c:v>
                </c:pt>
                <c:pt idx="51">
                  <c:v>3160.0646885127012</c:v>
                </c:pt>
                <c:pt idx="52">
                  <c:v>3184.0125257699001</c:v>
                </c:pt>
                <c:pt idx="53">
                  <c:v>3205.0942427665327</c:v>
                </c:pt>
                <c:pt idx="54">
                  <c:v>3223.2198181905878</c:v>
                </c:pt>
                <c:pt idx="55">
                  <c:v>3238.3062053461981</c:v>
                </c:pt>
                <c:pt idx="56">
                  <c:v>3250.2794185225034</c:v>
                </c:pt>
                <c:pt idx="57">
                  <c:v>3259.071852491536</c:v>
                </c:pt>
                <c:pt idx="58">
                  <c:v>3264.6266860658593</c:v>
                </c:pt>
                <c:pt idx="59">
                  <c:v>3266.9025882216201</c:v>
                </c:pt>
                <c:pt idx="60">
                  <c:v>3265.8776892306205</c:v>
                </c:pt>
                <c:pt idx="61">
                  <c:v>3261.5483739932292</c:v>
                </c:pt>
                <c:pt idx="62">
                  <c:v>3253.908792140764</c:v>
                </c:pt>
                <c:pt idx="63">
                  <c:v>3242.968219169597</c:v>
                </c:pt>
                <c:pt idx="64">
                  <c:v>3228.7562653840469</c:v>
                </c:pt>
                <c:pt idx="65">
                  <c:v>3211.3066043760355</c:v>
                </c:pt>
                <c:pt idx="66">
                  <c:v>3190.6650171919546</c:v>
                </c:pt>
                <c:pt idx="67">
                  <c:v>3166.8948144115884</c:v>
                </c:pt>
                <c:pt idx="68">
                  <c:v>3140.075008309931</c:v>
                </c:pt>
                <c:pt idx="69">
                  <c:v>3110.2897014285236</c:v>
                </c:pt>
                <c:pt idx="70">
                  <c:v>3077.6359042571135</c:v>
                </c:pt>
                <c:pt idx="71">
                  <c:v>3042.2191171297177</c:v>
                </c:pt>
                <c:pt idx="72">
                  <c:v>3004.1548837655769</c:v>
                </c:pt>
                <c:pt idx="73">
                  <c:v>2963.5673272955482</c:v>
                </c:pt>
                <c:pt idx="74">
                  <c:v>2920.5882994960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297-40CB-B839-EFC1D54577D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C$2:$C$76</c:f>
              <c:numCache>
                <c:formatCode>General</c:formatCode>
                <c:ptCount val="75"/>
                <c:pt idx="10">
                  <c:v>1369.948188582611</c:v>
                </c:pt>
                <c:pt idx="11">
                  <c:v>1391.2975955750383</c:v>
                </c:pt>
                <c:pt idx="12">
                  <c:v>1415.2712812993177</c:v>
                </c:pt>
                <c:pt idx="13">
                  <c:v>1442.8317371512212</c:v>
                </c:pt>
                <c:pt idx="14">
                  <c:v>1473.8376585641868</c:v>
                </c:pt>
                <c:pt idx="15">
                  <c:v>1507.7504997136252</c:v>
                </c:pt>
                <c:pt idx="16">
                  <c:v>1544.7532814512106</c:v>
                </c:pt>
                <c:pt idx="17">
                  <c:v>1584.2260083763288</c:v>
                </c:pt>
                <c:pt idx="18">
                  <c:v>1625.4142208550363</c:v>
                </c:pt>
                <c:pt idx="19">
                  <c:v>1668.4942594341767</c:v>
                </c:pt>
                <c:pt idx="20">
                  <c:v>1713.4997109615217</c:v>
                </c:pt>
                <c:pt idx="21">
                  <c:v>1760.0029851744553</c:v>
                </c:pt>
                <c:pt idx="22">
                  <c:v>1805.9846150007425</c:v>
                </c:pt>
                <c:pt idx="23">
                  <c:v>1850.2550838791187</c:v>
                </c:pt>
                <c:pt idx="24">
                  <c:v>1892.2145954640355</c:v>
                </c:pt>
                <c:pt idx="25">
                  <c:v>1931.7317289708822</c:v>
                </c:pt>
                <c:pt idx="26">
                  <c:v>1968.5134713295711</c:v>
                </c:pt>
                <c:pt idx="27">
                  <c:v>2002.1266327366548</c:v>
                </c:pt>
                <c:pt idx="28">
                  <c:v>2032.1192182343823</c:v>
                </c:pt>
                <c:pt idx="29">
                  <c:v>2058.4295789593561</c:v>
                </c:pt>
                <c:pt idx="30">
                  <c:v>2081.1276019955526</c:v>
                </c:pt>
                <c:pt idx="31">
                  <c:v>2100.2759690800049</c:v>
                </c:pt>
                <c:pt idx="32">
                  <c:v>2115.9596156844182</c:v>
                </c:pt>
                <c:pt idx="33">
                  <c:v>2128.3157946704491</c:v>
                </c:pt>
                <c:pt idx="34">
                  <c:v>2137.5142781066711</c:v>
                </c:pt>
                <c:pt idx="35">
                  <c:v>2143.6547903746273</c:v>
                </c:pt>
                <c:pt idx="36">
                  <c:v>2146.9507815242423</c:v>
                </c:pt>
                <c:pt idx="37">
                  <c:v>2147.5285651778172</c:v>
                </c:pt>
                <c:pt idx="38">
                  <c:v>2145.5286551264048</c:v>
                </c:pt>
                <c:pt idx="39">
                  <c:v>2141.1475147364276</c:v>
                </c:pt>
                <c:pt idx="40">
                  <c:v>2134.5578529017657</c:v>
                </c:pt>
                <c:pt idx="41">
                  <c:v>2125.8975085800644</c:v>
                </c:pt>
                <c:pt idx="42">
                  <c:v>2115.2721077575193</c:v>
                </c:pt>
                <c:pt idx="43">
                  <c:v>2102.8312356152428</c:v>
                </c:pt>
                <c:pt idx="44">
                  <c:v>2088.7004852941668</c:v>
                </c:pt>
                <c:pt idx="45">
                  <c:v>2073.0089809996157</c:v>
                </c:pt>
                <c:pt idx="46">
                  <c:v>2055.8882504071426</c:v>
                </c:pt>
                <c:pt idx="47">
                  <c:v>2037.4363689625056</c:v>
                </c:pt>
                <c:pt idx="48">
                  <c:v>2017.7486343576488</c:v>
                </c:pt>
                <c:pt idx="49">
                  <c:v>1996.9120760697012</c:v>
                </c:pt>
                <c:pt idx="50">
                  <c:v>1975.0027068648897</c:v>
                </c:pt>
                <c:pt idx="51">
                  <c:v>1952.0992675541529</c:v>
                </c:pt>
                <c:pt idx="52">
                  <c:v>1928.2770280429611</c:v>
                </c:pt>
                <c:pt idx="53">
                  <c:v>1903.6144586215796</c:v>
                </c:pt>
                <c:pt idx="54">
                  <c:v>1878.1828611550329</c:v>
                </c:pt>
                <c:pt idx="55">
                  <c:v>1852.0470339775729</c:v>
                </c:pt>
                <c:pt idx="56">
                  <c:v>1825.2673323473082</c:v>
                </c:pt>
                <c:pt idx="57">
                  <c:v>1797.8970905398749</c:v>
                </c:pt>
                <c:pt idx="58">
                  <c:v>1769.9866142931367</c:v>
                </c:pt>
                <c:pt idx="59">
                  <c:v>1741.5876354478098</c:v>
                </c:pt>
                <c:pt idx="60">
                  <c:v>1712.7569805473345</c:v>
                </c:pt>
                <c:pt idx="61">
                  <c:v>1683.5551184086655</c:v>
                </c:pt>
                <c:pt idx="62">
                  <c:v>1654.0258977602282</c:v>
                </c:pt>
                <c:pt idx="63">
                  <c:v>1624.2137778373128</c:v>
                </c:pt>
                <c:pt idx="64">
                  <c:v>1594.1690379366955</c:v>
                </c:pt>
                <c:pt idx="65">
                  <c:v>1563.9317569099676</c:v>
                </c:pt>
                <c:pt idx="66">
                  <c:v>1533.53989117023</c:v>
                </c:pt>
                <c:pt idx="67">
                  <c:v>1503.0350261403273</c:v>
                </c:pt>
                <c:pt idx="68">
                  <c:v>1472.4610982621921</c:v>
                </c:pt>
                <c:pt idx="69">
                  <c:v>1441.854329616066</c:v>
                </c:pt>
                <c:pt idx="70">
                  <c:v>1411.2516486942213</c:v>
                </c:pt>
                <c:pt idx="71">
                  <c:v>1380.6869627516135</c:v>
                </c:pt>
                <c:pt idx="72">
                  <c:v>1350.1935866236379</c:v>
                </c:pt>
                <c:pt idx="73">
                  <c:v>1319.8036569467499</c:v>
                </c:pt>
                <c:pt idx="74">
                  <c:v>1289.5480341168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297-40CB-B839-EFC1D54577D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D$2:$D$76</c:f>
              <c:numCache>
                <c:formatCode>General</c:formatCode>
                <c:ptCount val="75"/>
                <c:pt idx="10">
                  <c:v>1369.948188582611</c:v>
                </c:pt>
                <c:pt idx="11">
                  <c:v>1391.2975955750383</c:v>
                </c:pt>
                <c:pt idx="12">
                  <c:v>1415.2712812993177</c:v>
                </c:pt>
                <c:pt idx="13">
                  <c:v>1442.8317371512212</c:v>
                </c:pt>
                <c:pt idx="14">
                  <c:v>1473.8376585641868</c:v>
                </c:pt>
                <c:pt idx="15">
                  <c:v>1507.7504997136252</c:v>
                </c:pt>
                <c:pt idx="16">
                  <c:v>1544.7532814512106</c:v>
                </c:pt>
                <c:pt idx="17">
                  <c:v>1584.2260083763288</c:v>
                </c:pt>
                <c:pt idx="18">
                  <c:v>1625.4142208550363</c:v>
                </c:pt>
                <c:pt idx="19">
                  <c:v>1668.4942594341767</c:v>
                </c:pt>
                <c:pt idx="20">
                  <c:v>1713.4997109615217</c:v>
                </c:pt>
                <c:pt idx="21">
                  <c:v>1760.0029851744553</c:v>
                </c:pt>
                <c:pt idx="22">
                  <c:v>1804.7510091833005</c:v>
                </c:pt>
                <c:pt idx="23">
                  <c:v>1845.700020604191</c:v>
                </c:pt>
                <c:pt idx="24">
                  <c:v>1881.8201763134637</c:v>
                </c:pt>
                <c:pt idx="25">
                  <c:v>1912.8044094324898</c:v>
                </c:pt>
                <c:pt idx="26">
                  <c:v>1938.3358973067741</c:v>
                </c:pt>
                <c:pt idx="27">
                  <c:v>1958.0381209353307</c:v>
                </c:pt>
                <c:pt idx="28">
                  <c:v>1971.5719727059541</c:v>
                </c:pt>
                <c:pt idx="29">
                  <c:v>1979.0302299442146</c:v>
                </c:pt>
                <c:pt idx="30">
                  <c:v>1980.6817261202727</c:v>
                </c:pt>
                <c:pt idx="31">
                  <c:v>1976.8198916822937</c:v>
                </c:pt>
                <c:pt idx="32">
                  <c:v>1967.7882904051091</c:v>
                </c:pt>
                <c:pt idx="33">
                  <c:v>1954.0184867019868</c:v>
                </c:pt>
                <c:pt idx="34">
                  <c:v>1935.9848092864609</c:v>
                </c:pt>
                <c:pt idx="35">
                  <c:v>1914.0797619495252</c:v>
                </c:pt>
                <c:pt idx="36">
                  <c:v>1888.7913527540882</c:v>
                </c:pt>
                <c:pt idx="37">
                  <c:v>1860.5043440581544</c:v>
                </c:pt>
                <c:pt idx="38">
                  <c:v>1829.5967153226579</c:v>
                </c:pt>
                <c:pt idx="39">
                  <c:v>1796.4786464211836</c:v>
                </c:pt>
                <c:pt idx="40">
                  <c:v>1761.5111601464207</c:v>
                </c:pt>
                <c:pt idx="41">
                  <c:v>1724.99831068247</c:v>
                </c:pt>
                <c:pt idx="42">
                  <c:v>1687.1958107319688</c:v>
                </c:pt>
                <c:pt idx="43">
                  <c:v>1648.3909500695606</c:v>
                </c:pt>
                <c:pt idx="44">
                  <c:v>1608.8336856609278</c:v>
                </c:pt>
                <c:pt idx="45">
                  <c:v>1568.7579963013609</c:v>
                </c:pt>
                <c:pt idx="46">
                  <c:v>1528.3803355770972</c:v>
                </c:pt>
                <c:pt idx="47">
                  <c:v>1487.8660077202105</c:v>
                </c:pt>
                <c:pt idx="48">
                  <c:v>1447.3628597109055</c:v>
                </c:pt>
                <c:pt idx="49">
                  <c:v>1406.9970747362847</c:v>
                </c:pt>
                <c:pt idx="50">
                  <c:v>1366.872431746433</c:v>
                </c:pt>
                <c:pt idx="51">
                  <c:v>1327.0856463854434</c:v>
                </c:pt>
                <c:pt idx="52">
                  <c:v>1287.7213188102467</c:v>
                </c:pt>
                <c:pt idx="53">
                  <c:v>1248.8600311116568</c:v>
                </c:pt>
                <c:pt idx="54">
                  <c:v>1210.567708828926</c:v>
                </c:pt>
                <c:pt idx="55">
                  <c:v>1172.8970353703762</c:v>
                </c:pt>
                <c:pt idx="56">
                  <c:v>1135.8905273202192</c:v>
                </c:pt>
                <c:pt idx="57">
                  <c:v>1099.5790000476381</c:v>
                </c:pt>
                <c:pt idx="58">
                  <c:v>1063.9861226041467</c:v>
                </c:pt>
                <c:pt idx="59">
                  <c:v>1029.1334547623621</c:v>
                </c:pt>
                <c:pt idx="60">
                  <c:v>995.0445615229778</c:v>
                </c:pt>
                <c:pt idx="61">
                  <c:v>961.74395123443742</c:v>
                </c:pt>
                <c:pt idx="62">
                  <c:v>929.23746803504844</c:v>
                </c:pt>
                <c:pt idx="63">
                  <c:v>897.52980684912438</c:v>
                </c:pt>
                <c:pt idx="64">
                  <c:v>866.63000222783535</c:v>
                </c:pt>
                <c:pt idx="65">
                  <c:v>836.5357797295128</c:v>
                </c:pt>
                <c:pt idx="66">
                  <c:v>807.24174456436197</c:v>
                </c:pt>
                <c:pt idx="67">
                  <c:v>778.7453739483617</c:v>
                </c:pt>
                <c:pt idx="68">
                  <c:v>751.04606202293314</c:v>
                </c:pt>
                <c:pt idx="69">
                  <c:v>724.13529042551352</c:v>
                </c:pt>
                <c:pt idx="70">
                  <c:v>698.00524574054668</c:v>
                </c:pt>
                <c:pt idx="71">
                  <c:v>672.6452784680173</c:v>
                </c:pt>
                <c:pt idx="72">
                  <c:v>648.04459019711771</c:v>
                </c:pt>
                <c:pt idx="73">
                  <c:v>624.1918462766489</c:v>
                </c:pt>
                <c:pt idx="74">
                  <c:v>601.075123347514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297-40CB-B839-EFC1D54577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0000242690338468"/>
          <c:y val="4.6874997116449491E-2"/>
          <c:w val="0.37218278064565652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E$2:$E$76</c:f>
              <c:numCache>
                <c:formatCode>General</c:formatCode>
                <c:ptCount val="75"/>
                <c:pt idx="0">
                  <c:v>6312</c:v>
                </c:pt>
                <c:pt idx="1">
                  <c:v>6349</c:v>
                </c:pt>
                <c:pt idx="2">
                  <c:v>6432</c:v>
                </c:pt>
                <c:pt idx="3">
                  <c:v>6529</c:v>
                </c:pt>
                <c:pt idx="4">
                  <c:v>6544</c:v>
                </c:pt>
                <c:pt idx="5">
                  <c:v>6142</c:v>
                </c:pt>
                <c:pt idx="6">
                  <c:v>6356</c:v>
                </c:pt>
                <c:pt idx="7">
                  <c:v>7059</c:v>
                </c:pt>
                <c:pt idx="8">
                  <c:v>7089</c:v>
                </c:pt>
                <c:pt idx="9">
                  <c:v>7181</c:v>
                </c:pt>
                <c:pt idx="10">
                  <c:v>7397</c:v>
                </c:pt>
                <c:pt idx="11">
                  <c:v>7500</c:v>
                </c:pt>
                <c:pt idx="12">
                  <c:v>7219</c:v>
                </c:pt>
                <c:pt idx="13">
                  <c:v>7488</c:v>
                </c:pt>
                <c:pt idx="14">
                  <c:v>8313</c:v>
                </c:pt>
                <c:pt idx="15">
                  <c:v>8503</c:v>
                </c:pt>
                <c:pt idx="16">
                  <c:v>8438</c:v>
                </c:pt>
                <c:pt idx="17">
                  <c:v>8440</c:v>
                </c:pt>
                <c:pt idx="18">
                  <c:v>8502</c:v>
                </c:pt>
                <c:pt idx="19">
                  <c:v>8119</c:v>
                </c:pt>
                <c:pt idx="20">
                  <c:v>8361</c:v>
                </c:pt>
                <c:pt idx="21">
                  <c:v>9018</c:v>
                </c:pt>
                <c:pt idx="22">
                  <c:v>89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D4B-49C3-A552-FC8CD36DEB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B$2:$B$76</c:f>
              <c:numCache>
                <c:formatCode>General</c:formatCode>
                <c:ptCount val="75"/>
                <c:pt idx="10">
                  <c:v>7396.6721847127392</c:v>
                </c:pt>
                <c:pt idx="11">
                  <c:v>7591.1030118845256</c:v>
                </c:pt>
                <c:pt idx="12">
                  <c:v>7749.3859778646865</c:v>
                </c:pt>
                <c:pt idx="13">
                  <c:v>7917.8036625403047</c:v>
                </c:pt>
                <c:pt idx="14">
                  <c:v>8103.9882902353575</c:v>
                </c:pt>
                <c:pt idx="15">
                  <c:v>8306.4362474217651</c:v>
                </c:pt>
                <c:pt idx="16">
                  <c:v>8526.6049001944211</c:v>
                </c:pt>
                <c:pt idx="17">
                  <c:v>8760.5647034506783</c:v>
                </c:pt>
                <c:pt idx="18">
                  <c:v>9003.0596839062</c:v>
                </c:pt>
                <c:pt idx="19">
                  <c:v>9255.698225530321</c:v>
                </c:pt>
                <c:pt idx="20">
                  <c:v>9520.3048862740015</c:v>
                </c:pt>
                <c:pt idx="21">
                  <c:v>9793.316477870314</c:v>
                </c:pt>
                <c:pt idx="22">
                  <c:v>10072.966822459026</c:v>
                </c:pt>
                <c:pt idx="23">
                  <c:v>10360.463279622219</c:v>
                </c:pt>
                <c:pt idx="24">
                  <c:v>10656.351757626093</c:v>
                </c:pt>
                <c:pt idx="25">
                  <c:v>10960.929678804914</c:v>
                </c:pt>
                <c:pt idx="26">
                  <c:v>11273.498370102094</c:v>
                </c:pt>
                <c:pt idx="27">
                  <c:v>11592.288437724408</c:v>
                </c:pt>
                <c:pt idx="28">
                  <c:v>11914.872761348093</c:v>
                </c:pt>
                <c:pt idx="29">
                  <c:v>12240.797923815906</c:v>
                </c:pt>
                <c:pt idx="30">
                  <c:v>12569.80963153747</c:v>
                </c:pt>
                <c:pt idx="31">
                  <c:v>12901.299775415264</c:v>
                </c:pt>
                <c:pt idx="32">
                  <c:v>13234.444394985318</c:v>
                </c:pt>
                <c:pt idx="33">
                  <c:v>13568.820477630459</c:v>
                </c:pt>
                <c:pt idx="34">
                  <c:v>13903.964732161443</c:v>
                </c:pt>
                <c:pt idx="35">
                  <c:v>14238.523149875216</c:v>
                </c:pt>
                <c:pt idx="36">
                  <c:v>14571.640884632488</c:v>
                </c:pt>
                <c:pt idx="37">
                  <c:v>14902.260595840513</c:v>
                </c:pt>
                <c:pt idx="38">
                  <c:v>15229.361037422279</c:v>
                </c:pt>
                <c:pt idx="39">
                  <c:v>15552.192745208313</c:v>
                </c:pt>
                <c:pt idx="40">
                  <c:v>15870.064284368795</c:v>
                </c:pt>
                <c:pt idx="41">
                  <c:v>16181.949963030647</c:v>
                </c:pt>
                <c:pt idx="42">
                  <c:v>16486.82345257172</c:v>
                </c:pt>
                <c:pt idx="43">
                  <c:v>16783.864270793092</c:v>
                </c:pt>
                <c:pt idx="44">
                  <c:v>17072.057370028939</c:v>
                </c:pt>
                <c:pt idx="45">
                  <c:v>17350.457899150468</c:v>
                </c:pt>
                <c:pt idx="46">
                  <c:v>17618.284021531206</c:v>
                </c:pt>
                <c:pt idx="47">
                  <c:v>17874.586983295667</c:v>
                </c:pt>
                <c:pt idx="48">
                  <c:v>18118.482025149213</c:v>
                </c:pt>
                <c:pt idx="49">
                  <c:v>18349.118176158019</c:v>
                </c:pt>
                <c:pt idx="50">
                  <c:v>18565.580773150734</c:v>
                </c:pt>
                <c:pt idx="51">
                  <c:v>18767.074018691612</c:v>
                </c:pt>
                <c:pt idx="52">
                  <c:v>18952.853144239874</c:v>
                </c:pt>
                <c:pt idx="53">
                  <c:v>19122.218760191448</c:v>
                </c:pt>
                <c:pt idx="54">
                  <c:v>19274.534585575366</c:v>
                </c:pt>
                <c:pt idx="55">
                  <c:v>19409.192582598356</c:v>
                </c:pt>
                <c:pt idx="56">
                  <c:v>19525.613198128212</c:v>
                </c:pt>
                <c:pt idx="57">
                  <c:v>19623.254716615069</c:v>
                </c:pt>
                <c:pt idx="58">
                  <c:v>19701.649038144522</c:v>
                </c:pt>
                <c:pt idx="59">
                  <c:v>19760.417346893966</c:v>
                </c:pt>
                <c:pt idx="60">
                  <c:v>19799.297928694003</c:v>
                </c:pt>
                <c:pt idx="61">
                  <c:v>19818.129287701806</c:v>
                </c:pt>
                <c:pt idx="62">
                  <c:v>19816.737327369312</c:v>
                </c:pt>
                <c:pt idx="63">
                  <c:v>19795.04683415038</c:v>
                </c:pt>
                <c:pt idx="64">
                  <c:v>19753.115394399199</c:v>
                </c:pt>
                <c:pt idx="65">
                  <c:v>19691.005663568852</c:v>
                </c:pt>
                <c:pt idx="66">
                  <c:v>19608.856455886089</c:v>
                </c:pt>
                <c:pt idx="67">
                  <c:v>19506.929570100794</c:v>
                </c:pt>
                <c:pt idx="68">
                  <c:v>19385.583298545975</c:v>
                </c:pt>
                <c:pt idx="69">
                  <c:v>19245.206780357745</c:v>
                </c:pt>
                <c:pt idx="70">
                  <c:v>19086.271314431771</c:v>
                </c:pt>
                <c:pt idx="71">
                  <c:v>18909.320318014674</c:v>
                </c:pt>
                <c:pt idx="72">
                  <c:v>18714.955578396435</c:v>
                </c:pt>
                <c:pt idx="73">
                  <c:v>18503.832814492038</c:v>
                </c:pt>
                <c:pt idx="74">
                  <c:v>18276.6666420712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216-4360-A02D-44DD6057B4B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C$2:$C$76</c:f>
              <c:numCache>
                <c:formatCode>General</c:formatCode>
                <c:ptCount val="75"/>
                <c:pt idx="10">
                  <c:v>7396.6721847127392</c:v>
                </c:pt>
                <c:pt idx="11">
                  <c:v>7591.1030118845256</c:v>
                </c:pt>
                <c:pt idx="12">
                  <c:v>7742.4339547670361</c:v>
                </c:pt>
                <c:pt idx="13">
                  <c:v>7892.0310200342965</c:v>
                </c:pt>
                <c:pt idx="14">
                  <c:v>8044.7119103191844</c:v>
                </c:pt>
                <c:pt idx="15">
                  <c:v>8197.2972860831596</c:v>
                </c:pt>
                <c:pt idx="16">
                  <c:v>8350.2033684319013</c:v>
                </c:pt>
                <c:pt idx="17">
                  <c:v>8498.7730806304626</c:v>
                </c:pt>
                <c:pt idx="18">
                  <c:v>8637.2670469349814</c:v>
                </c:pt>
                <c:pt idx="19">
                  <c:v>8767.0208880297087</c:v>
                </c:pt>
                <c:pt idx="20">
                  <c:v>8889.850819538151</c:v>
                </c:pt>
                <c:pt idx="21">
                  <c:v>9002.4059311626606</c:v>
                </c:pt>
                <c:pt idx="22">
                  <c:v>9103.3558740881526</c:v>
                </c:pt>
                <c:pt idx="23">
                  <c:v>9194.6340928283953</c:v>
                </c:pt>
                <c:pt idx="24">
                  <c:v>9277.6758227457085</c:v>
                </c:pt>
                <c:pt idx="25">
                  <c:v>9353.7213455837409</c:v>
                </c:pt>
                <c:pt idx="26">
                  <c:v>9423.0423295868422</c:v>
                </c:pt>
                <c:pt idx="27">
                  <c:v>9484.8843072786913</c:v>
                </c:pt>
                <c:pt idx="28">
                  <c:v>9537.8516401071138</c:v>
                </c:pt>
                <c:pt idx="29">
                  <c:v>9582.5210246429488</c:v>
                </c:pt>
                <c:pt idx="30">
                  <c:v>9619.6533502665643</c:v>
                </c:pt>
                <c:pt idx="31">
                  <c:v>9649.654372109866</c:v>
                </c:pt>
                <c:pt idx="32">
                  <c:v>9672.7411513351908</c:v>
                </c:pt>
                <c:pt idx="33">
                  <c:v>9689.5744597942357</c:v>
                </c:pt>
                <c:pt idx="34">
                  <c:v>9700.8063714452055</c:v>
                </c:pt>
                <c:pt idx="35">
                  <c:v>9706.1881162018744</c:v>
                </c:pt>
                <c:pt idx="36">
                  <c:v>9705.9516050498951</c:v>
                </c:pt>
                <c:pt idx="37">
                  <c:v>9700.1138151166197</c:v>
                </c:pt>
                <c:pt idx="38">
                  <c:v>9688.7252060171577</c:v>
                </c:pt>
                <c:pt idx="39">
                  <c:v>9672.1046277736841</c:v>
                </c:pt>
                <c:pt idx="40">
                  <c:v>9650.6293378663941</c:v>
                </c:pt>
                <c:pt idx="41">
                  <c:v>9624.3441636202151</c:v>
                </c:pt>
                <c:pt idx="42">
                  <c:v>9593.2940574056938</c:v>
                </c:pt>
                <c:pt idx="43">
                  <c:v>9557.7313827830731</c:v>
                </c:pt>
                <c:pt idx="44">
                  <c:v>9517.7060733705257</c:v>
                </c:pt>
                <c:pt idx="45">
                  <c:v>9473.3272056652659</c:v>
                </c:pt>
                <c:pt idx="46">
                  <c:v>9424.8540519567941</c:v>
                </c:pt>
                <c:pt idx="47">
                  <c:v>9372.3645017081908</c:v>
                </c:pt>
                <c:pt idx="48">
                  <c:v>9315.9814354580922</c:v>
                </c:pt>
                <c:pt idx="49">
                  <c:v>9255.838246088957</c:v>
                </c:pt>
                <c:pt idx="50">
                  <c:v>9191.9763243453417</c:v>
                </c:pt>
                <c:pt idx="51">
                  <c:v>9124.5223925131304</c:v>
                </c:pt>
                <c:pt idx="52">
                  <c:v>9053.6172373956815</c:v>
                </c:pt>
                <c:pt idx="53">
                  <c:v>8979.4045322103975</c:v>
                </c:pt>
                <c:pt idx="54">
                  <c:v>8902.0433220578234</c:v>
                </c:pt>
                <c:pt idx="55">
                  <c:v>8821.6688022198832</c:v>
                </c:pt>
                <c:pt idx="56">
                  <c:v>8738.3869307684799</c:v>
                </c:pt>
                <c:pt idx="57">
                  <c:v>8652.2794011615115</c:v>
                </c:pt>
                <c:pt idx="58">
                  <c:v>8563.4360007802461</c:v>
                </c:pt>
                <c:pt idx="59">
                  <c:v>8471.9668230765037</c:v>
                </c:pt>
                <c:pt idx="60">
                  <c:v>8378.0269657291901</c:v>
                </c:pt>
                <c:pt idx="61">
                  <c:v>8281.7970909321248</c:v>
                </c:pt>
                <c:pt idx="62">
                  <c:v>8183.3691564897026</c:v>
                </c:pt>
                <c:pt idx="63">
                  <c:v>8082.856763126696</c:v>
                </c:pt>
                <c:pt idx="64">
                  <c:v>7980.4276728491423</c:v>
                </c:pt>
                <c:pt idx="65">
                  <c:v>7876.1749102041858</c:v>
                </c:pt>
                <c:pt idx="66">
                  <c:v>7770.1878903911556</c:v>
                </c:pt>
                <c:pt idx="67">
                  <c:v>7662.6008484820122</c:v>
                </c:pt>
                <c:pt idx="68">
                  <c:v>7553.5685674771703</c:v>
                </c:pt>
                <c:pt idx="69">
                  <c:v>7443.2023931863396</c:v>
                </c:pt>
                <c:pt idx="70">
                  <c:v>7331.6245572436474</c:v>
                </c:pt>
                <c:pt idx="71">
                  <c:v>7218.9614964876619</c:v>
                </c:pt>
                <c:pt idx="72">
                  <c:v>7105.333604429803</c:v>
                </c:pt>
                <c:pt idx="73">
                  <c:v>6990.8542501154971</c:v>
                </c:pt>
                <c:pt idx="74">
                  <c:v>6875.6394841492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D$2:$D$76</c:f>
              <c:numCache>
                <c:formatCode>General</c:formatCode>
                <c:ptCount val="75"/>
                <c:pt idx="10">
                  <c:v>7396.6721847127392</c:v>
                </c:pt>
                <c:pt idx="11">
                  <c:v>7591.1030118845256</c:v>
                </c:pt>
                <c:pt idx="12">
                  <c:v>7737.1036185848598</c:v>
                </c:pt>
                <c:pt idx="13">
                  <c:v>7872.2669015309111</c:v>
                </c:pt>
                <c:pt idx="14">
                  <c:v>7999.4082154549769</c:v>
                </c:pt>
                <c:pt idx="15">
                  <c:v>8114.4078047092244</c:v>
                </c:pt>
                <c:pt idx="16">
                  <c:v>8217.3772676637655</c:v>
                </c:pt>
                <c:pt idx="17">
                  <c:v>8303.693659059476</c:v>
                </c:pt>
                <c:pt idx="18">
                  <c:v>8367.8934755498904</c:v>
                </c:pt>
                <c:pt idx="19">
                  <c:v>8411.7727742418683</c:v>
                </c:pt>
                <c:pt idx="20">
                  <c:v>8437.811107857302</c:v>
                </c:pt>
                <c:pt idx="21">
                  <c:v>8443.473089927862</c:v>
                </c:pt>
                <c:pt idx="22">
                  <c:v>8428.3832992816187</c:v>
                </c:pt>
                <c:pt idx="23">
                  <c:v>8395.6081436397817</c:v>
                </c:pt>
                <c:pt idx="24">
                  <c:v>8347.7855442870386</c:v>
                </c:pt>
                <c:pt idx="25">
                  <c:v>8287.332635594119</c:v>
                </c:pt>
                <c:pt idx="26">
                  <c:v>8215.6437124080894</c:v>
                </c:pt>
                <c:pt idx="27">
                  <c:v>8133.0417444269215</c:v>
                </c:pt>
                <c:pt idx="28">
                  <c:v>8039.1407275422862</c:v>
                </c:pt>
                <c:pt idx="29">
                  <c:v>7935.4454847171646</c:v>
                </c:pt>
                <c:pt idx="30">
                  <c:v>7823.5544682057234</c:v>
                </c:pt>
                <c:pt idx="31">
                  <c:v>7704.6333327728071</c:v>
                </c:pt>
                <c:pt idx="32">
                  <c:v>7579.6065930786153</c:v>
                </c:pt>
                <c:pt idx="33">
                  <c:v>7449.8055549986093</c:v>
                </c:pt>
                <c:pt idx="34">
                  <c:v>7316.5103559285908</c:v>
                </c:pt>
                <c:pt idx="35">
                  <c:v>7180.0282829853531</c:v>
                </c:pt>
                <c:pt idx="36">
                  <c:v>7041.0713752545817</c:v>
                </c:pt>
                <c:pt idx="37">
                  <c:v>6900.0690156452993</c:v>
                </c:pt>
                <c:pt idx="38">
                  <c:v>6757.4282733390955</c:v>
                </c:pt>
                <c:pt idx="39">
                  <c:v>6613.7729313734535</c:v>
                </c:pt>
                <c:pt idx="40">
                  <c:v>6469.7410899127399</c:v>
                </c:pt>
                <c:pt idx="41">
                  <c:v>6325.6001893247085</c:v>
                </c:pt>
                <c:pt idx="42">
                  <c:v>6181.583475596075</c:v>
                </c:pt>
                <c:pt idx="43">
                  <c:v>6038.1026139803771</c:v>
                </c:pt>
                <c:pt idx="44">
                  <c:v>5895.3353692176679</c:v>
                </c:pt>
                <c:pt idx="45">
                  <c:v>5753.4894879648282</c:v>
                </c:pt>
                <c:pt idx="46">
                  <c:v>5612.8973668973549</c:v>
                </c:pt>
                <c:pt idx="47">
                  <c:v>5473.6883288125955</c:v>
                </c:pt>
                <c:pt idx="48">
                  <c:v>5336.0166936429496</c:v>
                </c:pt>
                <c:pt idx="49">
                  <c:v>5200.0291864336523</c:v>
                </c:pt>
                <c:pt idx="50">
                  <c:v>5065.7637196673068</c:v>
                </c:pt>
                <c:pt idx="51">
                  <c:v>4933.3278436109285</c:v>
                </c:pt>
                <c:pt idx="52">
                  <c:v>4802.829915747684</c:v>
                </c:pt>
                <c:pt idx="53">
                  <c:v>4674.3686638175877</c:v>
                </c:pt>
                <c:pt idx="54">
                  <c:v>4548.0464601704298</c:v>
                </c:pt>
                <c:pt idx="55">
                  <c:v>4423.9313854936427</c:v>
                </c:pt>
                <c:pt idx="56">
                  <c:v>4302.0519323713233</c:v>
                </c:pt>
                <c:pt idx="57">
                  <c:v>4182.4027499983376</c:v>
                </c:pt>
                <c:pt idx="58">
                  <c:v>4064.9782215513983</c:v>
                </c:pt>
                <c:pt idx="59">
                  <c:v>3949.7855281206066</c:v>
                </c:pt>
                <c:pt idx="60">
                  <c:v>3836.8700618978419</c:v>
                </c:pt>
                <c:pt idx="61">
                  <c:v>3726.2967061215541</c:v>
                </c:pt>
                <c:pt idx="62">
                  <c:v>3618.0366826047425</c:v>
                </c:pt>
                <c:pt idx="63">
                  <c:v>3512.0787823601977</c:v>
                </c:pt>
                <c:pt idx="64">
                  <c:v>3408.4620633607678</c:v>
                </c:pt>
                <c:pt idx="65">
                  <c:v>3307.1467945607965</c:v>
                </c:pt>
                <c:pt idx="66">
                  <c:v>3208.0858548236556</c:v>
                </c:pt>
                <c:pt idx="67">
                  <c:v>3111.274158061377</c:v>
                </c:pt>
                <c:pt idx="68">
                  <c:v>3016.725379270782</c:v>
                </c:pt>
                <c:pt idx="69">
                  <c:v>2924.4080609478719</c:v>
                </c:pt>
                <c:pt idx="70">
                  <c:v>2834.3005909894164</c:v>
                </c:pt>
                <c:pt idx="71">
                  <c:v>2746.3850237097381</c:v>
                </c:pt>
                <c:pt idx="72">
                  <c:v>2660.6370414360813</c:v>
                </c:pt>
                <c:pt idx="73">
                  <c:v>2577.0247894386503</c:v>
                </c:pt>
                <c:pt idx="74">
                  <c:v>2495.51906888271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  <c:max val="200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0000242690338468"/>
          <c:y val="4.6874997116449491E-2"/>
          <c:w val="0.37218278064565652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E$2:$E$76</c:f>
              <c:numCache>
                <c:formatCode>General</c:formatCode>
                <c:ptCount val="75"/>
                <c:pt idx="0">
                  <c:v>1164</c:v>
                </c:pt>
                <c:pt idx="1">
                  <c:v>1208</c:v>
                </c:pt>
                <c:pt idx="2">
                  <c:v>1239</c:v>
                </c:pt>
                <c:pt idx="3">
                  <c:v>1266</c:v>
                </c:pt>
                <c:pt idx="4">
                  <c:v>1267</c:v>
                </c:pt>
                <c:pt idx="5">
                  <c:v>1267</c:v>
                </c:pt>
                <c:pt idx="6">
                  <c:v>1280</c:v>
                </c:pt>
                <c:pt idx="7">
                  <c:v>1362</c:v>
                </c:pt>
                <c:pt idx="8">
                  <c:v>1387</c:v>
                </c:pt>
                <c:pt idx="9">
                  <c:v>1403</c:v>
                </c:pt>
                <c:pt idx="10">
                  <c:v>1457</c:v>
                </c:pt>
                <c:pt idx="11">
                  <c:v>1436</c:v>
                </c:pt>
                <c:pt idx="12">
                  <c:v>1465</c:v>
                </c:pt>
                <c:pt idx="13">
                  <c:v>1503</c:v>
                </c:pt>
                <c:pt idx="14">
                  <c:v>1586</c:v>
                </c:pt>
                <c:pt idx="15">
                  <c:v>1598</c:v>
                </c:pt>
                <c:pt idx="16">
                  <c:v>1623</c:v>
                </c:pt>
                <c:pt idx="17">
                  <c:v>1651</c:v>
                </c:pt>
                <c:pt idx="18">
                  <c:v>1669</c:v>
                </c:pt>
                <c:pt idx="19">
                  <c:v>1668</c:v>
                </c:pt>
                <c:pt idx="20">
                  <c:v>1673</c:v>
                </c:pt>
                <c:pt idx="21">
                  <c:v>1763</c:v>
                </c:pt>
                <c:pt idx="22">
                  <c:v>18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297-40CB-B839-EFC1D54577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B$2:$B$76</c:f>
              <c:numCache>
                <c:formatCode>General</c:formatCode>
                <c:ptCount val="75"/>
                <c:pt idx="10">
                  <c:v>1429.4057922113973</c:v>
                </c:pt>
                <c:pt idx="11">
                  <c:v>1466.979520450727</c:v>
                </c:pt>
                <c:pt idx="12">
                  <c:v>1497.5676799270993</c:v>
                </c:pt>
                <c:pt idx="13">
                  <c:v>1530.1143722739241</c:v>
                </c:pt>
                <c:pt idx="14">
                  <c:v>1566.0945236990567</c:v>
                </c:pt>
                <c:pt idx="15">
                  <c:v>1605.217561113328</c:v>
                </c:pt>
                <c:pt idx="16">
                  <c:v>1647.7651202963684</c:v>
                </c:pt>
                <c:pt idx="17">
                  <c:v>1692.9778172454521</c:v>
                </c:pt>
                <c:pt idx="18">
                  <c:v>1739.8399359103437</c:v>
                </c:pt>
                <c:pt idx="19">
                  <c:v>1788.6622962522986</c:v>
                </c:pt>
                <c:pt idx="20">
                  <c:v>1839.797493822153</c:v>
                </c:pt>
                <c:pt idx="21">
                  <c:v>1892.5569430208304</c:v>
                </c:pt>
                <c:pt idx="22">
                  <c:v>1946.5993302412858</c:v>
                </c:pt>
                <c:pt idx="23">
                  <c:v>2002.1579775419818</c:v>
                </c:pt>
                <c:pt idx="24">
                  <c:v>2059.3383816136243</c:v>
                </c:pt>
                <c:pt idx="25">
                  <c:v>2118.1980192777773</c:v>
                </c:pt>
                <c:pt idx="26">
                  <c:v>2178.6018720708666</c:v>
                </c:pt>
                <c:pt idx="27">
                  <c:v>2240.2080049072774</c:v>
                </c:pt>
                <c:pt idx="28">
                  <c:v>2302.5473771478496</c:v>
                </c:pt>
                <c:pt idx="29">
                  <c:v>2365.532365994834</c:v>
                </c:pt>
                <c:pt idx="30">
                  <c:v>2429.1138292499654</c:v>
                </c:pt>
                <c:pt idx="31">
                  <c:v>2493.1742499211987</c:v>
                </c:pt>
                <c:pt idx="32">
                  <c:v>2557.5543977722409</c:v>
                </c:pt>
                <c:pt idx="33">
                  <c:v>2622.1725256781601</c:v>
                </c:pt>
                <c:pt idx="34">
                  <c:v>2686.9391026860021</c:v>
                </c:pt>
                <c:pt idx="35">
                  <c:v>2751.5924668166335</c:v>
                </c:pt>
                <c:pt idx="36">
                  <c:v>2815.9674191816312</c:v>
                </c:pt>
                <c:pt idx="37">
                  <c:v>2879.859628869759</c:v>
                </c:pt>
                <c:pt idx="38">
                  <c:v>2943.0717402295436</c:v>
                </c:pt>
                <c:pt idx="39">
                  <c:v>3005.4589194224491</c:v>
                </c:pt>
                <c:pt idx="40">
                  <c:v>3066.88754677114</c:v>
                </c:pt>
                <c:pt idx="41">
                  <c:v>3127.1594074747177</c:v>
                </c:pt>
                <c:pt idx="42">
                  <c:v>3186.0761636806214</c:v>
                </c:pt>
                <c:pt idx="43">
                  <c:v>3243.4792573267587</c:v>
                </c:pt>
                <c:pt idx="44">
                  <c:v>3299.1725306036883</c:v>
                </c:pt>
                <c:pt idx="45">
                  <c:v>3352.9733911722424</c:v>
                </c:pt>
                <c:pt idx="46">
                  <c:v>3404.7307492214168</c:v>
                </c:pt>
                <c:pt idx="47">
                  <c:v>3454.2612582068282</c:v>
                </c:pt>
                <c:pt idx="48">
                  <c:v>3501.3939385272606</c:v>
                </c:pt>
                <c:pt idx="49">
                  <c:v>3545.9643401771659</c:v>
                </c:pt>
                <c:pt idx="50">
                  <c:v>3587.795704635631</c:v>
                </c:pt>
                <c:pt idx="51">
                  <c:v>3626.73424416735</c:v>
                </c:pt>
                <c:pt idx="52">
                  <c:v>3662.6360323633298</c:v>
                </c:pt>
                <c:pt idx="53">
                  <c:v>3695.3659122873019</c:v>
                </c:pt>
                <c:pt idx="54">
                  <c:v>3724.8009227368948</c:v>
                </c:pt>
                <c:pt idx="55">
                  <c:v>3750.8235604995984</c:v>
                </c:pt>
                <c:pt idx="56">
                  <c:v>3773.3218270193897</c:v>
                </c:pt>
                <c:pt idx="57">
                  <c:v>3792.191035847366</c:v>
                </c:pt>
                <c:pt idx="58">
                  <c:v>3807.3407267451566</c:v>
                </c:pt>
                <c:pt idx="59">
                  <c:v>3818.6976936117617</c:v>
                </c:pt>
                <c:pt idx="60">
                  <c:v>3826.2113602231311</c:v>
                </c:pt>
                <c:pt idx="61">
                  <c:v>3829.8505175318192</c:v>
                </c:pt>
                <c:pt idx="62">
                  <c:v>3829.5815214059794</c:v>
                </c:pt>
                <c:pt idx="63">
                  <c:v>3825.3898368390815</c:v>
                </c:pt>
                <c:pt idx="64">
                  <c:v>3817.2865923854506</c:v>
                </c:pt>
                <c:pt idx="65">
                  <c:v>3805.2838962020132</c:v>
                </c:pt>
                <c:pt idx="66">
                  <c:v>3789.4085741173044</c:v>
                </c:pt>
                <c:pt idx="67">
                  <c:v>3769.7112187005418</c:v>
                </c:pt>
                <c:pt idx="68">
                  <c:v>3746.2610698914323</c:v>
                </c:pt>
                <c:pt idx="69">
                  <c:v>3719.1333287697648</c:v>
                </c:pt>
                <c:pt idx="70">
                  <c:v>3688.4190737765612</c:v>
                </c:pt>
                <c:pt idx="71">
                  <c:v>3654.2233202133662</c:v>
                </c:pt>
                <c:pt idx="72">
                  <c:v>3616.6623633838644</c:v>
                </c:pt>
                <c:pt idx="73">
                  <c:v>3575.8629208701977</c:v>
                </c:pt>
                <c:pt idx="74">
                  <c:v>3531.96309206288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297-40CB-B839-EFC1D54577D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C$2:$C$76</c:f>
              <c:numCache>
                <c:formatCode>General</c:formatCode>
                <c:ptCount val="75"/>
                <c:pt idx="10">
                  <c:v>1429.4057922113973</c:v>
                </c:pt>
                <c:pt idx="11">
                  <c:v>1466.979520450727</c:v>
                </c:pt>
                <c:pt idx="12">
                  <c:v>1496.2242025043868</c:v>
                </c:pt>
                <c:pt idx="13">
                  <c:v>1525.1338129685082</c:v>
                </c:pt>
                <c:pt idx="14">
                  <c:v>1554.6393721555532</c:v>
                </c:pt>
                <c:pt idx="15">
                  <c:v>1584.1264731757331</c:v>
                </c:pt>
                <c:pt idx="16">
                  <c:v>1613.6755506954005</c:v>
                </c:pt>
                <c:pt idx="17">
                  <c:v>1642.386625332819</c:v>
                </c:pt>
                <c:pt idx="18">
                  <c:v>1669.1505635848287</c:v>
                </c:pt>
                <c:pt idx="19">
                  <c:v>1694.2254739486821</c:v>
                </c:pt>
                <c:pt idx="20">
                  <c:v>1717.962339821685</c:v>
                </c:pt>
                <c:pt idx="21">
                  <c:v>1739.7135982905395</c:v>
                </c:pt>
                <c:pt idx="22">
                  <c:v>1759.2221596459206</c:v>
                </c:pt>
                <c:pt idx="23">
                  <c:v>1776.8616617506239</c:v>
                </c:pt>
                <c:pt idx="24">
                  <c:v>1792.9094636235241</c:v>
                </c:pt>
                <c:pt idx="25">
                  <c:v>1807.6052495258771</c:v>
                </c:pt>
                <c:pt idx="26">
                  <c:v>1821.0015193052272</c:v>
                </c:pt>
                <c:pt idx="27">
                  <c:v>1832.9524722347398</c:v>
                </c:pt>
                <c:pt idx="28">
                  <c:v>1843.1884013731724</c:v>
                </c:pt>
                <c:pt idx="29">
                  <c:v>1851.8207532464928</c:v>
                </c:pt>
                <c:pt idx="30">
                  <c:v>1858.9965696135307</c:v>
                </c:pt>
                <c:pt idx="31">
                  <c:v>1864.7942625927742</c:v>
                </c:pt>
                <c:pt idx="32">
                  <c:v>1869.2557792213454</c:v>
                </c:pt>
                <c:pt idx="33">
                  <c:v>1872.5088135606486</c:v>
                </c:pt>
                <c:pt idx="34">
                  <c:v>1874.6793788054738</c:v>
                </c:pt>
                <c:pt idx="35">
                  <c:v>1875.7194001739056</c:v>
                </c:pt>
                <c:pt idx="36">
                  <c:v>1875.6736944291979</c:v>
                </c:pt>
                <c:pt idx="37">
                  <c:v>1874.5455423986693</c:v>
                </c:pt>
                <c:pt idx="38">
                  <c:v>1872.3446953953849</c:v>
                </c:pt>
                <c:pt idx="39">
                  <c:v>1869.1327711383892</c:v>
                </c:pt>
                <c:pt idx="40">
                  <c:v>1864.9826745792443</c:v>
                </c:pt>
                <c:pt idx="41">
                  <c:v>1859.9030685917805</c:v>
                </c:pt>
                <c:pt idx="42">
                  <c:v>1853.9026402148752</c:v>
                </c:pt>
                <c:pt idx="43">
                  <c:v>1847.0301586687599</c:v>
                </c:pt>
                <c:pt idx="44">
                  <c:v>1839.2952736176696</c:v>
                </c:pt>
                <c:pt idx="45">
                  <c:v>1830.7190640783599</c:v>
                </c:pt>
                <c:pt idx="46">
                  <c:v>1821.3516343819558</c:v>
                </c:pt>
                <c:pt idx="47">
                  <c:v>1811.208036655536</c:v>
                </c:pt>
                <c:pt idx="48">
                  <c:v>1800.3120175447932</c:v>
                </c:pt>
                <c:pt idx="49">
                  <c:v>1788.68935520429</c:v>
                </c:pt>
                <c:pt idx="50">
                  <c:v>1776.3480483892145</c:v>
                </c:pt>
                <c:pt idx="51">
                  <c:v>1763.31258616234</c:v>
                </c:pt>
                <c:pt idx="52">
                  <c:v>1749.6101755523362</c:v>
                </c:pt>
                <c:pt idx="53">
                  <c:v>1735.2685813869539</c:v>
                </c:pt>
                <c:pt idx="54">
                  <c:v>1720.3185391080601</c:v>
                </c:pt>
                <c:pt idx="55">
                  <c:v>1704.7861751836444</c:v>
                </c:pt>
                <c:pt idx="56">
                  <c:v>1688.6919659952371</c:v>
                </c:pt>
                <c:pt idx="57">
                  <c:v>1672.051698791345</c:v>
                </c:pt>
                <c:pt idx="58">
                  <c:v>1654.882724969955</c:v>
                </c:pt>
                <c:pt idx="59">
                  <c:v>1637.206320074147</c:v>
                </c:pt>
                <c:pt idx="60">
                  <c:v>1619.0524567071473</c:v>
                </c:pt>
                <c:pt idx="61">
                  <c:v>1600.4560478108613</c:v>
                </c:pt>
                <c:pt idx="62">
                  <c:v>1581.4348642172199</c:v>
                </c:pt>
                <c:pt idx="63">
                  <c:v>1562.0108592492761</c:v>
                </c:pt>
                <c:pt idx="64">
                  <c:v>1542.216452889578</c:v>
                </c:pt>
                <c:pt idx="65">
                  <c:v>1522.0696221179332</c:v>
                </c:pt>
                <c:pt idx="66">
                  <c:v>1501.5876464082237</c:v>
                </c:pt>
                <c:pt idx="67">
                  <c:v>1480.7964666680075</c:v>
                </c:pt>
                <c:pt idx="68">
                  <c:v>1459.7259946889396</c:v>
                </c:pt>
                <c:pt idx="69">
                  <c:v>1438.3977480320746</c:v>
                </c:pt>
                <c:pt idx="70">
                  <c:v>1416.8353479424061</c:v>
                </c:pt>
                <c:pt idx="71">
                  <c:v>1395.0632283200569</c:v>
                </c:pt>
                <c:pt idx="72">
                  <c:v>1373.104655193082</c:v>
                </c:pt>
                <c:pt idx="73">
                  <c:v>1350.981537112536</c:v>
                </c:pt>
                <c:pt idx="74">
                  <c:v>1328.71630084036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297-40CB-B839-EFC1D54577D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76</c:f>
              <c:numCache>
                <c:formatCode>m/d/yyyy</c:formatCode>
                <c:ptCount val="75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</c:numCache>
            </c:numRef>
          </c:cat>
          <c:val>
            <c:numRef>
              <c:f>Sheet1!$D$2:$D$76</c:f>
              <c:numCache>
                <c:formatCode>General</c:formatCode>
                <c:ptCount val="75"/>
                <c:pt idx="10">
                  <c:v>1429.4057922113973</c:v>
                </c:pt>
                <c:pt idx="11">
                  <c:v>1466.979520450727</c:v>
                </c:pt>
                <c:pt idx="12">
                  <c:v>1495.1941158352784</c:v>
                </c:pt>
                <c:pt idx="13">
                  <c:v>1521.3144000269588</c:v>
                </c:pt>
                <c:pt idx="14">
                  <c:v>1545.8844399062486</c:v>
                </c:pt>
                <c:pt idx="15">
                  <c:v>1568.108093311045</c:v>
                </c:pt>
                <c:pt idx="16">
                  <c:v>1588.0069266096623</c:v>
                </c:pt>
                <c:pt idx="17">
                  <c:v>1604.6875563229562</c:v>
                </c:pt>
                <c:pt idx="18">
                  <c:v>1617.0941612472586</c:v>
                </c:pt>
                <c:pt idx="19">
                  <c:v>1625.5738291495509</c:v>
                </c:pt>
                <c:pt idx="20">
                  <c:v>1630.6057332220821</c:v>
                </c:pt>
                <c:pt idx="21">
                  <c:v>1631.6999104094641</c:v>
                </c:pt>
                <c:pt idx="22">
                  <c:v>1628.7838106264323</c:v>
                </c:pt>
                <c:pt idx="23">
                  <c:v>1622.4500167059855</c:v>
                </c:pt>
                <c:pt idx="24">
                  <c:v>1613.2083065414204</c:v>
                </c:pt>
                <c:pt idx="25">
                  <c:v>1601.5257909879692</c:v>
                </c:pt>
                <c:pt idx="26">
                  <c:v>1587.6719173160634</c:v>
                </c:pt>
                <c:pt idx="27">
                  <c:v>1571.7090993714789</c:v>
                </c:pt>
                <c:pt idx="28">
                  <c:v>1553.5627419180764</c:v>
                </c:pt>
                <c:pt idx="29">
                  <c:v>1533.5236517681385</c:v>
                </c:pt>
                <c:pt idx="30">
                  <c:v>1511.9007295804511</c:v>
                </c:pt>
                <c:pt idx="31">
                  <c:v>1488.91923796379</c:v>
                </c:pt>
                <c:pt idx="32">
                  <c:v>1464.7578392378134</c:v>
                </c:pt>
                <c:pt idx="33">
                  <c:v>1439.6738080636214</c:v>
                </c:pt>
                <c:pt idx="34">
                  <c:v>1413.9145308012812</c:v>
                </c:pt>
                <c:pt idx="35">
                  <c:v>1387.5393906401036</c:v>
                </c:pt>
                <c:pt idx="36">
                  <c:v>1360.6859890267856</c:v>
                </c:pt>
                <c:pt idx="37">
                  <c:v>1333.4373041442054</c:v>
                </c:pt>
                <c:pt idx="38">
                  <c:v>1305.8720020507562</c:v>
                </c:pt>
                <c:pt idx="39">
                  <c:v>1278.1106287250336</c:v>
                </c:pt>
                <c:pt idx="40">
                  <c:v>1250.2764969282609</c:v>
                </c:pt>
                <c:pt idx="41">
                  <c:v>1222.4212894714631</c:v>
                </c:pt>
                <c:pt idx="42">
                  <c:v>1194.5900811066497</c:v>
                </c:pt>
                <c:pt idx="43">
                  <c:v>1166.8624260824295</c:v>
                </c:pt>
                <c:pt idx="44">
                  <c:v>1139.2726774082012</c:v>
                </c:pt>
                <c:pt idx="45">
                  <c:v>1111.860982094302</c:v>
                </c:pt>
                <c:pt idx="46">
                  <c:v>1084.6915757485026</c:v>
                </c:pt>
                <c:pt idx="47">
                  <c:v>1057.7894499820272</c:v>
                </c:pt>
                <c:pt idx="48">
                  <c:v>1031.1844270987062</c:v>
                </c:pt>
                <c:pt idx="49">
                  <c:v>1004.9048616915626</c:v>
                </c:pt>
                <c:pt idx="50">
                  <c:v>978.95808034218271</c:v>
                </c:pt>
                <c:pt idx="51">
                  <c:v>953.36486712356418</c:v>
                </c:pt>
                <c:pt idx="52">
                  <c:v>928.14616210310487</c:v>
                </c:pt>
                <c:pt idx="53">
                  <c:v>903.32104440178034</c:v>
                </c:pt>
                <c:pt idx="54">
                  <c:v>878.90929746085953</c:v>
                </c:pt>
                <c:pt idx="55">
                  <c:v>854.92407786299532</c:v>
                </c:pt>
                <c:pt idx="56">
                  <c:v>831.37089179579812</c:v>
                </c:pt>
                <c:pt idx="57">
                  <c:v>808.2487052169771</c:v>
                </c:pt>
                <c:pt idx="58">
                  <c:v>785.55643267627295</c:v>
                </c:pt>
                <c:pt idx="59">
                  <c:v>763.29546191827251</c:v>
                </c:pt>
                <c:pt idx="60">
                  <c:v>741.47456497726</c:v>
                </c:pt>
                <c:pt idx="61">
                  <c:v>720.10628052935112</c:v>
                </c:pt>
                <c:pt idx="62">
                  <c:v>699.18504719421696</c:v>
                </c:pt>
                <c:pt idx="63">
                  <c:v>678.70869883675732</c:v>
                </c:pt>
                <c:pt idx="64">
                  <c:v>658.6847834043773</c:v>
                </c:pt>
                <c:pt idx="65">
                  <c:v>639.10562287845244</c:v>
                </c:pt>
                <c:pt idx="66">
                  <c:v>619.96211110638478</c:v>
                </c:pt>
                <c:pt idx="67">
                  <c:v>601.25326520243607</c:v>
                </c:pt>
                <c:pt idx="68">
                  <c:v>582.98172785769441</c:v>
                </c:pt>
                <c:pt idx="69">
                  <c:v>565.14141991422218</c:v>
                </c:pt>
                <c:pt idx="70">
                  <c:v>547.72816483630595</c:v>
                </c:pt>
                <c:pt idx="71">
                  <c:v>530.73849462287558</c:v>
                </c:pt>
                <c:pt idx="72">
                  <c:v>514.16770988731207</c:v>
                </c:pt>
                <c:pt idx="73">
                  <c:v>498.00965470785184</c:v>
                </c:pt>
                <c:pt idx="74">
                  <c:v>482.258686414054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297-40CB-B839-EFC1D54577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0000242690338468"/>
          <c:y val="4.6874997116449491E-2"/>
          <c:w val="0.37218278064565652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A$7</c:f>
              <c:strCache>
                <c:ptCount val="1"/>
                <c:pt idx="0">
                  <c:v>x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B$1:$BV$1</c:f>
              <c:strCache>
                <c:ptCount val="73"/>
                <c:pt idx="0">
                  <c:v>01.01.2021</c:v>
                </c:pt>
                <c:pt idx="1">
                  <c:v>02.01.2021</c:v>
                </c:pt>
                <c:pt idx="2">
                  <c:v>03.01.2021</c:v>
                </c:pt>
                <c:pt idx="3">
                  <c:v>04.01.2021</c:v>
                </c:pt>
                <c:pt idx="4">
                  <c:v>05.01.2021</c:v>
                </c:pt>
                <c:pt idx="5">
                  <c:v>06.01.2021</c:v>
                </c:pt>
                <c:pt idx="6">
                  <c:v>07.01.2021</c:v>
                </c:pt>
                <c:pt idx="7">
                  <c:v>08.01.2021</c:v>
                </c:pt>
                <c:pt idx="8">
                  <c:v>09.01.2021</c:v>
                </c:pt>
                <c:pt idx="9">
                  <c:v>10.01.2021</c:v>
                </c:pt>
                <c:pt idx="10">
                  <c:v>11.01.2021</c:v>
                </c:pt>
                <c:pt idx="11">
                  <c:v>12.01.2021</c:v>
                </c:pt>
                <c:pt idx="12">
                  <c:v>13.01.2021</c:v>
                </c:pt>
                <c:pt idx="13">
                  <c:v>14.01.2021</c:v>
                </c:pt>
                <c:pt idx="14">
                  <c:v>15.01.2021</c:v>
                </c:pt>
                <c:pt idx="15">
                  <c:v>16.01.2021</c:v>
                </c:pt>
                <c:pt idx="16">
                  <c:v>17.01.2021</c:v>
                </c:pt>
                <c:pt idx="17">
                  <c:v>18.01.2021</c:v>
                </c:pt>
                <c:pt idx="18">
                  <c:v>19.01.2021</c:v>
                </c:pt>
                <c:pt idx="19">
                  <c:v>20.01.2021</c:v>
                </c:pt>
                <c:pt idx="20">
                  <c:v>21.01.2021</c:v>
                </c:pt>
                <c:pt idx="21">
                  <c:v>22.01.2021</c:v>
                </c:pt>
                <c:pt idx="22">
                  <c:v>23.01.2021</c:v>
                </c:pt>
                <c:pt idx="23">
                  <c:v>24.01.2021</c:v>
                </c:pt>
                <c:pt idx="24">
                  <c:v>25.01.2021</c:v>
                </c:pt>
                <c:pt idx="25">
                  <c:v>26.01.2021</c:v>
                </c:pt>
                <c:pt idx="26">
                  <c:v>27.01.2021</c:v>
                </c:pt>
                <c:pt idx="27">
                  <c:v>28.01.2021</c:v>
                </c:pt>
                <c:pt idx="28">
                  <c:v>29.01.2021</c:v>
                </c:pt>
                <c:pt idx="29">
                  <c:v>30.01.2021</c:v>
                </c:pt>
                <c:pt idx="30">
                  <c:v>31.01.2021</c:v>
                </c:pt>
                <c:pt idx="31">
                  <c:v>01.02.2021</c:v>
                </c:pt>
                <c:pt idx="32">
                  <c:v>02.02.2021</c:v>
                </c:pt>
                <c:pt idx="33">
                  <c:v>03.02.2021</c:v>
                </c:pt>
                <c:pt idx="34">
                  <c:v>04.02.2021</c:v>
                </c:pt>
                <c:pt idx="35">
                  <c:v>05.02.2021</c:v>
                </c:pt>
                <c:pt idx="36">
                  <c:v>06.02.2021</c:v>
                </c:pt>
                <c:pt idx="37">
                  <c:v>07.02.2021</c:v>
                </c:pt>
                <c:pt idx="38">
                  <c:v>08.02.2021</c:v>
                </c:pt>
                <c:pt idx="39">
                  <c:v>09.02.2021</c:v>
                </c:pt>
                <c:pt idx="40">
                  <c:v>10.02.2021</c:v>
                </c:pt>
                <c:pt idx="41">
                  <c:v>11.02.2021</c:v>
                </c:pt>
                <c:pt idx="42">
                  <c:v>12.02.2021</c:v>
                </c:pt>
                <c:pt idx="43">
                  <c:v>13.02.2021</c:v>
                </c:pt>
                <c:pt idx="44">
                  <c:v>14.02.2021</c:v>
                </c:pt>
                <c:pt idx="45">
                  <c:v>15.02.2021</c:v>
                </c:pt>
                <c:pt idx="46">
                  <c:v>16.02.2021</c:v>
                </c:pt>
                <c:pt idx="47">
                  <c:v>17.02.2021</c:v>
                </c:pt>
                <c:pt idx="48">
                  <c:v>18.02.2021</c:v>
                </c:pt>
                <c:pt idx="49">
                  <c:v>19.02.2021</c:v>
                </c:pt>
                <c:pt idx="50">
                  <c:v>20.02.2021</c:v>
                </c:pt>
                <c:pt idx="51">
                  <c:v>21.02.2021</c:v>
                </c:pt>
                <c:pt idx="52">
                  <c:v>22.02.2021</c:v>
                </c:pt>
                <c:pt idx="53">
                  <c:v>23.02.2021</c:v>
                </c:pt>
                <c:pt idx="54">
                  <c:v>24.02.2021</c:v>
                </c:pt>
                <c:pt idx="55">
                  <c:v>25.02.2021</c:v>
                </c:pt>
                <c:pt idx="56">
                  <c:v>26.02.2021</c:v>
                </c:pt>
                <c:pt idx="57">
                  <c:v>27.02.2021</c:v>
                </c:pt>
                <c:pt idx="58">
                  <c:v>28.02.2021</c:v>
                </c:pt>
                <c:pt idx="59">
                  <c:v>01.03.2021</c:v>
                </c:pt>
                <c:pt idx="60">
                  <c:v>02.03.2021</c:v>
                </c:pt>
                <c:pt idx="61">
                  <c:v>03.03.2021</c:v>
                </c:pt>
                <c:pt idx="62">
                  <c:v>04.03.2021</c:v>
                </c:pt>
                <c:pt idx="63">
                  <c:v>05.03.2021</c:v>
                </c:pt>
                <c:pt idx="64">
                  <c:v>06.03.2021</c:v>
                </c:pt>
                <c:pt idx="65">
                  <c:v>07.03.2021</c:v>
                </c:pt>
                <c:pt idx="66">
                  <c:v>08.03.2021</c:v>
                </c:pt>
                <c:pt idx="67">
                  <c:v>09.03.2021</c:v>
                </c:pt>
                <c:pt idx="68">
                  <c:v>10.03.2021</c:v>
                </c:pt>
                <c:pt idx="69">
                  <c:v>11.03.2021</c:v>
                </c:pt>
                <c:pt idx="70">
                  <c:v>12.03.2021</c:v>
                </c:pt>
                <c:pt idx="71">
                  <c:v>13.03.2021</c:v>
                </c:pt>
                <c:pt idx="72">
                  <c:v>14.03.2021</c:v>
                </c:pt>
              </c:strCache>
            </c:strRef>
          </c:cat>
          <c:val>
            <c:numRef>
              <c:f>Sheet1!$B$7:$BV$7</c:f>
              <c:numCache>
                <c:formatCode>#,##0</c:formatCode>
                <c:ptCount val="73"/>
                <c:pt idx="0">
                  <c:v>5643</c:v>
                </c:pt>
                <c:pt idx="1">
                  <c:v>5948</c:v>
                </c:pt>
                <c:pt idx="2">
                  <c:v>6262</c:v>
                </c:pt>
                <c:pt idx="3">
                  <c:v>7201</c:v>
                </c:pt>
                <c:pt idx="4">
                  <c:v>7381</c:v>
                </c:pt>
                <c:pt idx="5">
                  <c:v>7371</c:v>
                </c:pt>
                <c:pt idx="6">
                  <c:v>7510</c:v>
                </c:pt>
                <c:pt idx="7">
                  <c:v>7305</c:v>
                </c:pt>
                <c:pt idx="8">
                  <c:v>6728</c:v>
                </c:pt>
                <c:pt idx="9">
                  <c:v>6838</c:v>
                </c:pt>
                <c:pt idx="10">
                  <c:v>7378</c:v>
                </c:pt>
                <c:pt idx="11">
                  <c:v>7432</c:v>
                </c:pt>
                <c:pt idx="12">
                  <c:v>7259</c:v>
                </c:pt>
                <c:pt idx="13">
                  <c:v>7182</c:v>
                </c:pt>
                <c:pt idx="14">
                  <c:v>7098</c:v>
                </c:pt>
                <c:pt idx="15">
                  <c:v>6476</c:v>
                </c:pt>
                <c:pt idx="16">
                  <c:v>6442</c:v>
                </c:pt>
                <c:pt idx="17">
                  <c:v>6929</c:v>
                </c:pt>
                <c:pt idx="18">
                  <c:v>6646</c:v>
                </c:pt>
                <c:pt idx="19">
                  <c:v>6477</c:v>
                </c:pt>
                <c:pt idx="20">
                  <c:v>6356</c:v>
                </c:pt>
                <c:pt idx="21">
                  <c:v>6333</c:v>
                </c:pt>
                <c:pt idx="22">
                  <c:v>5831</c:v>
                </c:pt>
                <c:pt idx="23">
                  <c:v>5872</c:v>
                </c:pt>
                <c:pt idx="24">
                  <c:v>6291</c:v>
                </c:pt>
                <c:pt idx="25">
                  <c:v>6255</c:v>
                </c:pt>
                <c:pt idx="26">
                  <c:v>6098</c:v>
                </c:pt>
                <c:pt idx="27">
                  <c:v>5991</c:v>
                </c:pt>
                <c:pt idx="28">
                  <c:v>5934</c:v>
                </c:pt>
                <c:pt idx="29">
                  <c:v>5493</c:v>
                </c:pt>
                <c:pt idx="30">
                  <c:v>5540</c:v>
                </c:pt>
                <c:pt idx="31">
                  <c:v>6066</c:v>
                </c:pt>
                <c:pt idx="32">
                  <c:v>5956</c:v>
                </c:pt>
                <c:pt idx="33">
                  <c:v>5927</c:v>
                </c:pt>
                <c:pt idx="34">
                  <c:v>5954</c:v>
                </c:pt>
                <c:pt idx="35">
                  <c:v>5935</c:v>
                </c:pt>
                <c:pt idx="36">
                  <c:v>5603</c:v>
                </c:pt>
                <c:pt idx="37">
                  <c:v>5744</c:v>
                </c:pt>
                <c:pt idx="38">
                  <c:v>6161</c:v>
                </c:pt>
                <c:pt idx="39">
                  <c:v>6094</c:v>
                </c:pt>
                <c:pt idx="40">
                  <c:v>6014</c:v>
                </c:pt>
                <c:pt idx="41">
                  <c:v>5988</c:v>
                </c:pt>
                <c:pt idx="42">
                  <c:v>5923</c:v>
                </c:pt>
                <c:pt idx="43">
                  <c:v>5614</c:v>
                </c:pt>
                <c:pt idx="44">
                  <c:v>5828</c:v>
                </c:pt>
                <c:pt idx="45">
                  <c:v>6312</c:v>
                </c:pt>
                <c:pt idx="46">
                  <c:v>6349</c:v>
                </c:pt>
                <c:pt idx="47">
                  <c:v>6432</c:v>
                </c:pt>
                <c:pt idx="48">
                  <c:v>6529</c:v>
                </c:pt>
                <c:pt idx="49">
                  <c:v>6544</c:v>
                </c:pt>
                <c:pt idx="50">
                  <c:v>6142</c:v>
                </c:pt>
                <c:pt idx="51">
                  <c:v>6356</c:v>
                </c:pt>
                <c:pt idx="52">
                  <c:v>7059</c:v>
                </c:pt>
                <c:pt idx="53">
                  <c:v>7089</c:v>
                </c:pt>
                <c:pt idx="54">
                  <c:v>7181</c:v>
                </c:pt>
                <c:pt idx="55">
                  <c:v>7397</c:v>
                </c:pt>
                <c:pt idx="56">
                  <c:v>7500</c:v>
                </c:pt>
                <c:pt idx="57">
                  <c:v>7220</c:v>
                </c:pt>
                <c:pt idx="58">
                  <c:v>7489</c:v>
                </c:pt>
                <c:pt idx="59">
                  <c:v>8313</c:v>
                </c:pt>
                <c:pt idx="60">
                  <c:v>8501</c:v>
                </c:pt>
                <c:pt idx="61">
                  <c:v>8437</c:v>
                </c:pt>
                <c:pt idx="62">
                  <c:v>8441</c:v>
                </c:pt>
                <c:pt idx="63">
                  <c:v>8510</c:v>
                </c:pt>
                <c:pt idx="64">
                  <c:v>8139</c:v>
                </c:pt>
                <c:pt idx="65">
                  <c:v>8385</c:v>
                </c:pt>
                <c:pt idx="66">
                  <c:v>9049</c:v>
                </c:pt>
                <c:pt idx="67">
                  <c:v>9041</c:v>
                </c:pt>
                <c:pt idx="68">
                  <c:v>9023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75-450C-8897-44929F3F52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strRef>
              <c:f>Sheet1!$A$3</c:f>
              <c:strCache>
                <c:ptCount val="1"/>
                <c:pt idx="0">
                  <c:v>1.1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B$1:$BV$1</c:f>
              <c:strCache>
                <c:ptCount val="73"/>
                <c:pt idx="0">
                  <c:v>01.01.2021</c:v>
                </c:pt>
                <c:pt idx="1">
                  <c:v>02.01.2021</c:v>
                </c:pt>
                <c:pt idx="2">
                  <c:v>03.01.2021</c:v>
                </c:pt>
                <c:pt idx="3">
                  <c:v>04.01.2021</c:v>
                </c:pt>
                <c:pt idx="4">
                  <c:v>05.01.2021</c:v>
                </c:pt>
                <c:pt idx="5">
                  <c:v>06.01.2021</c:v>
                </c:pt>
                <c:pt idx="6">
                  <c:v>07.01.2021</c:v>
                </c:pt>
                <c:pt idx="7">
                  <c:v>08.01.2021</c:v>
                </c:pt>
                <c:pt idx="8">
                  <c:v>09.01.2021</c:v>
                </c:pt>
                <c:pt idx="9">
                  <c:v>10.01.2021</c:v>
                </c:pt>
                <c:pt idx="10">
                  <c:v>11.01.2021</c:v>
                </c:pt>
                <c:pt idx="11">
                  <c:v>12.01.2021</c:v>
                </c:pt>
                <c:pt idx="12">
                  <c:v>13.01.2021</c:v>
                </c:pt>
                <c:pt idx="13">
                  <c:v>14.01.2021</c:v>
                </c:pt>
                <c:pt idx="14">
                  <c:v>15.01.2021</c:v>
                </c:pt>
                <c:pt idx="15">
                  <c:v>16.01.2021</c:v>
                </c:pt>
                <c:pt idx="16">
                  <c:v>17.01.2021</c:v>
                </c:pt>
                <c:pt idx="17">
                  <c:v>18.01.2021</c:v>
                </c:pt>
                <c:pt idx="18">
                  <c:v>19.01.2021</c:v>
                </c:pt>
                <c:pt idx="19">
                  <c:v>20.01.2021</c:v>
                </c:pt>
                <c:pt idx="20">
                  <c:v>21.01.2021</c:v>
                </c:pt>
                <c:pt idx="21">
                  <c:v>22.01.2021</c:v>
                </c:pt>
                <c:pt idx="22">
                  <c:v>23.01.2021</c:v>
                </c:pt>
                <c:pt idx="23">
                  <c:v>24.01.2021</c:v>
                </c:pt>
                <c:pt idx="24">
                  <c:v>25.01.2021</c:v>
                </c:pt>
                <c:pt idx="25">
                  <c:v>26.01.2021</c:v>
                </c:pt>
                <c:pt idx="26">
                  <c:v>27.01.2021</c:v>
                </c:pt>
                <c:pt idx="27">
                  <c:v>28.01.2021</c:v>
                </c:pt>
                <c:pt idx="28">
                  <c:v>29.01.2021</c:v>
                </c:pt>
                <c:pt idx="29">
                  <c:v>30.01.2021</c:v>
                </c:pt>
                <c:pt idx="30">
                  <c:v>31.01.2021</c:v>
                </c:pt>
                <c:pt idx="31">
                  <c:v>01.02.2021</c:v>
                </c:pt>
                <c:pt idx="32">
                  <c:v>02.02.2021</c:v>
                </c:pt>
                <c:pt idx="33">
                  <c:v>03.02.2021</c:v>
                </c:pt>
                <c:pt idx="34">
                  <c:v>04.02.2021</c:v>
                </c:pt>
                <c:pt idx="35">
                  <c:v>05.02.2021</c:v>
                </c:pt>
                <c:pt idx="36">
                  <c:v>06.02.2021</c:v>
                </c:pt>
                <c:pt idx="37">
                  <c:v>07.02.2021</c:v>
                </c:pt>
                <c:pt idx="38">
                  <c:v>08.02.2021</c:v>
                </c:pt>
                <c:pt idx="39">
                  <c:v>09.02.2021</c:v>
                </c:pt>
                <c:pt idx="40">
                  <c:v>10.02.2021</c:v>
                </c:pt>
                <c:pt idx="41">
                  <c:v>11.02.2021</c:v>
                </c:pt>
                <c:pt idx="42">
                  <c:v>12.02.2021</c:v>
                </c:pt>
                <c:pt idx="43">
                  <c:v>13.02.2021</c:v>
                </c:pt>
                <c:pt idx="44">
                  <c:v>14.02.2021</c:v>
                </c:pt>
                <c:pt idx="45">
                  <c:v>15.02.2021</c:v>
                </c:pt>
                <c:pt idx="46">
                  <c:v>16.02.2021</c:v>
                </c:pt>
                <c:pt idx="47">
                  <c:v>17.02.2021</c:v>
                </c:pt>
                <c:pt idx="48">
                  <c:v>18.02.2021</c:v>
                </c:pt>
                <c:pt idx="49">
                  <c:v>19.02.2021</c:v>
                </c:pt>
                <c:pt idx="50">
                  <c:v>20.02.2021</c:v>
                </c:pt>
                <c:pt idx="51">
                  <c:v>21.02.2021</c:v>
                </c:pt>
                <c:pt idx="52">
                  <c:v>22.02.2021</c:v>
                </c:pt>
                <c:pt idx="53">
                  <c:v>23.02.2021</c:v>
                </c:pt>
                <c:pt idx="54">
                  <c:v>24.02.2021</c:v>
                </c:pt>
                <c:pt idx="55">
                  <c:v>25.02.2021</c:v>
                </c:pt>
                <c:pt idx="56">
                  <c:v>26.02.2021</c:v>
                </c:pt>
                <c:pt idx="57">
                  <c:v>27.02.2021</c:v>
                </c:pt>
                <c:pt idx="58">
                  <c:v>28.02.2021</c:v>
                </c:pt>
                <c:pt idx="59">
                  <c:v>01.03.2021</c:v>
                </c:pt>
                <c:pt idx="60">
                  <c:v>02.03.2021</c:v>
                </c:pt>
                <c:pt idx="61">
                  <c:v>03.03.2021</c:v>
                </c:pt>
                <c:pt idx="62">
                  <c:v>04.03.2021</c:v>
                </c:pt>
                <c:pt idx="63">
                  <c:v>05.03.2021</c:v>
                </c:pt>
                <c:pt idx="64">
                  <c:v>06.03.2021</c:v>
                </c:pt>
                <c:pt idx="65">
                  <c:v>07.03.2021</c:v>
                </c:pt>
                <c:pt idx="66">
                  <c:v>08.03.2021</c:v>
                </c:pt>
                <c:pt idx="67">
                  <c:v>09.03.2021</c:v>
                </c:pt>
                <c:pt idx="68">
                  <c:v>10.03.2021</c:v>
                </c:pt>
                <c:pt idx="69">
                  <c:v>11.03.2021</c:v>
                </c:pt>
                <c:pt idx="70">
                  <c:v>12.03.2021</c:v>
                </c:pt>
                <c:pt idx="71">
                  <c:v>13.03.2021</c:v>
                </c:pt>
                <c:pt idx="72">
                  <c:v>14.03.2021</c:v>
                </c:pt>
              </c:strCache>
            </c:strRef>
          </c:cat>
          <c:val>
            <c:numRef>
              <c:f>Sheet1!$B$3:$BV$3</c:f>
              <c:numCache>
                <c:formatCode>General</c:formatCode>
                <c:ptCount val="73"/>
                <c:pt idx="49" formatCode="#,##0">
                  <c:v>6659.6154455943533</c:v>
                </c:pt>
                <c:pt idx="50" formatCode="#,##0">
                  <c:v>6748.9208121693591</c:v>
                </c:pt>
                <c:pt idx="51" formatCode="#,##0">
                  <c:v>6850.6916652139143</c:v>
                </c:pt>
                <c:pt idx="52" formatCode="#,##0">
                  <c:v>6962.2711337086521</c:v>
                </c:pt>
                <c:pt idx="53" formatCode="#,##0">
                  <c:v>7080.6654033050463</c:v>
                </c:pt>
                <c:pt idx="54" formatCode="#,##0">
                  <c:v>7206.7754838311384</c:v>
                </c:pt>
                <c:pt idx="55" formatCode="#,##0">
                  <c:v>7338.9286752269927</c:v>
                </c:pt>
                <c:pt idx="56" formatCode="#,##0">
                  <c:v>7473.826484441448</c:v>
                </c:pt>
                <c:pt idx="57" formatCode="#,##0">
                  <c:v>7612.0908488840487</c:v>
                </c:pt>
                <c:pt idx="58" formatCode="#,##0">
                  <c:v>7754.8332183969742</c:v>
                </c:pt>
                <c:pt idx="59" formatCode="#,##0">
                  <c:v>7900.3256970297425</c:v>
                </c:pt>
                <c:pt idx="60" formatCode="#,##0">
                  <c:v>8047.6470427439317</c:v>
                </c:pt>
                <c:pt idx="61" formatCode="#,##0">
                  <c:v>8197.7051658163018</c:v>
                </c:pt>
                <c:pt idx="62" formatCode="#,##0">
                  <c:v>8351.0818288123828</c:v>
                </c:pt>
                <c:pt idx="63" formatCode="#,##0">
                  <c:v>8508.8361059491526</c:v>
                </c:pt>
                <c:pt idx="64" formatCode="#,##0">
                  <c:v>8670.8096350308006</c:v>
                </c:pt>
                <c:pt idx="65" formatCode="#,##0">
                  <c:v>8836.0498295664693</c:v>
                </c:pt>
                <c:pt idx="66" formatCode="#,##0">
                  <c:v>9002.8531877212336</c:v>
                </c:pt>
                <c:pt idx="67" formatCode="#,##0">
                  <c:v>9171.238743013324</c:v>
                </c:pt>
                <c:pt idx="68" formatCode="#,##0">
                  <c:v>9342.1553760747192</c:v>
                </c:pt>
                <c:pt idx="69" formatCode="#,##0">
                  <c:v>9516.1140691993169</c:v>
                </c:pt>
                <c:pt idx="70" formatCode="#,##0">
                  <c:v>9693.4941796280527</c:v>
                </c:pt>
                <c:pt idx="71" formatCode="#,##0">
                  <c:v>9874.3369202272479</c:v>
                </c:pt>
                <c:pt idx="72" formatCode="#,##0">
                  <c:v>10058.4377668426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875-450C-8897-44929F3F52C5}"/>
            </c:ext>
          </c:extLst>
        </c:ser>
        <c:ser>
          <c:idx val="1"/>
          <c:order val="1"/>
          <c:tx>
            <c:strRef>
              <c:f>Sheet1!$A$4</c:f>
              <c:strCache>
                <c:ptCount val="1"/>
                <c:pt idx="0">
                  <c:v>1.2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B$1:$BV$1</c:f>
              <c:strCache>
                <c:ptCount val="73"/>
                <c:pt idx="0">
                  <c:v>01.01.2021</c:v>
                </c:pt>
                <c:pt idx="1">
                  <c:v>02.01.2021</c:v>
                </c:pt>
                <c:pt idx="2">
                  <c:v>03.01.2021</c:v>
                </c:pt>
                <c:pt idx="3">
                  <c:v>04.01.2021</c:v>
                </c:pt>
                <c:pt idx="4">
                  <c:v>05.01.2021</c:v>
                </c:pt>
                <c:pt idx="5">
                  <c:v>06.01.2021</c:v>
                </c:pt>
                <c:pt idx="6">
                  <c:v>07.01.2021</c:v>
                </c:pt>
                <c:pt idx="7">
                  <c:v>08.01.2021</c:v>
                </c:pt>
                <c:pt idx="8">
                  <c:v>09.01.2021</c:v>
                </c:pt>
                <c:pt idx="9">
                  <c:v>10.01.2021</c:v>
                </c:pt>
                <c:pt idx="10">
                  <c:v>11.01.2021</c:v>
                </c:pt>
                <c:pt idx="11">
                  <c:v>12.01.2021</c:v>
                </c:pt>
                <c:pt idx="12">
                  <c:v>13.01.2021</c:v>
                </c:pt>
                <c:pt idx="13">
                  <c:v>14.01.2021</c:v>
                </c:pt>
                <c:pt idx="14">
                  <c:v>15.01.2021</c:v>
                </c:pt>
                <c:pt idx="15">
                  <c:v>16.01.2021</c:v>
                </c:pt>
                <c:pt idx="16">
                  <c:v>17.01.2021</c:v>
                </c:pt>
                <c:pt idx="17">
                  <c:v>18.01.2021</c:v>
                </c:pt>
                <c:pt idx="18">
                  <c:v>19.01.2021</c:v>
                </c:pt>
                <c:pt idx="19">
                  <c:v>20.01.2021</c:v>
                </c:pt>
                <c:pt idx="20">
                  <c:v>21.01.2021</c:v>
                </c:pt>
                <c:pt idx="21">
                  <c:v>22.01.2021</c:v>
                </c:pt>
                <c:pt idx="22">
                  <c:v>23.01.2021</c:v>
                </c:pt>
                <c:pt idx="23">
                  <c:v>24.01.2021</c:v>
                </c:pt>
                <c:pt idx="24">
                  <c:v>25.01.2021</c:v>
                </c:pt>
                <c:pt idx="25">
                  <c:v>26.01.2021</c:v>
                </c:pt>
                <c:pt idx="26">
                  <c:v>27.01.2021</c:v>
                </c:pt>
                <c:pt idx="27">
                  <c:v>28.01.2021</c:v>
                </c:pt>
                <c:pt idx="28">
                  <c:v>29.01.2021</c:v>
                </c:pt>
                <c:pt idx="29">
                  <c:v>30.01.2021</c:v>
                </c:pt>
                <c:pt idx="30">
                  <c:v>31.01.2021</c:v>
                </c:pt>
                <c:pt idx="31">
                  <c:v>01.02.2021</c:v>
                </c:pt>
                <c:pt idx="32">
                  <c:v>02.02.2021</c:v>
                </c:pt>
                <c:pt idx="33">
                  <c:v>03.02.2021</c:v>
                </c:pt>
                <c:pt idx="34">
                  <c:v>04.02.2021</c:v>
                </c:pt>
                <c:pt idx="35">
                  <c:v>05.02.2021</c:v>
                </c:pt>
                <c:pt idx="36">
                  <c:v>06.02.2021</c:v>
                </c:pt>
                <c:pt idx="37">
                  <c:v>07.02.2021</c:v>
                </c:pt>
                <c:pt idx="38">
                  <c:v>08.02.2021</c:v>
                </c:pt>
                <c:pt idx="39">
                  <c:v>09.02.2021</c:v>
                </c:pt>
                <c:pt idx="40">
                  <c:v>10.02.2021</c:v>
                </c:pt>
                <c:pt idx="41">
                  <c:v>11.02.2021</c:v>
                </c:pt>
                <c:pt idx="42">
                  <c:v>12.02.2021</c:v>
                </c:pt>
                <c:pt idx="43">
                  <c:v>13.02.2021</c:v>
                </c:pt>
                <c:pt idx="44">
                  <c:v>14.02.2021</c:v>
                </c:pt>
                <c:pt idx="45">
                  <c:v>15.02.2021</c:v>
                </c:pt>
                <c:pt idx="46">
                  <c:v>16.02.2021</c:v>
                </c:pt>
                <c:pt idx="47">
                  <c:v>17.02.2021</c:v>
                </c:pt>
                <c:pt idx="48">
                  <c:v>18.02.2021</c:v>
                </c:pt>
                <c:pt idx="49">
                  <c:v>19.02.2021</c:v>
                </c:pt>
                <c:pt idx="50">
                  <c:v>20.02.2021</c:v>
                </c:pt>
                <c:pt idx="51">
                  <c:v>21.02.2021</c:v>
                </c:pt>
                <c:pt idx="52">
                  <c:v>22.02.2021</c:v>
                </c:pt>
                <c:pt idx="53">
                  <c:v>23.02.2021</c:v>
                </c:pt>
                <c:pt idx="54">
                  <c:v>24.02.2021</c:v>
                </c:pt>
                <c:pt idx="55">
                  <c:v>25.02.2021</c:v>
                </c:pt>
                <c:pt idx="56">
                  <c:v>26.02.2021</c:v>
                </c:pt>
                <c:pt idx="57">
                  <c:v>27.02.2021</c:v>
                </c:pt>
                <c:pt idx="58">
                  <c:v>28.02.2021</c:v>
                </c:pt>
                <c:pt idx="59">
                  <c:v>01.03.2021</c:v>
                </c:pt>
                <c:pt idx="60">
                  <c:v>02.03.2021</c:v>
                </c:pt>
                <c:pt idx="61">
                  <c:v>03.03.2021</c:v>
                </c:pt>
                <c:pt idx="62">
                  <c:v>04.03.2021</c:v>
                </c:pt>
                <c:pt idx="63">
                  <c:v>05.03.2021</c:v>
                </c:pt>
                <c:pt idx="64">
                  <c:v>06.03.2021</c:v>
                </c:pt>
                <c:pt idx="65">
                  <c:v>07.03.2021</c:v>
                </c:pt>
                <c:pt idx="66">
                  <c:v>08.03.2021</c:v>
                </c:pt>
                <c:pt idx="67">
                  <c:v>09.03.2021</c:v>
                </c:pt>
                <c:pt idx="68">
                  <c:v>10.03.2021</c:v>
                </c:pt>
                <c:pt idx="69">
                  <c:v>11.03.2021</c:v>
                </c:pt>
                <c:pt idx="70">
                  <c:v>12.03.2021</c:v>
                </c:pt>
                <c:pt idx="71">
                  <c:v>13.03.2021</c:v>
                </c:pt>
                <c:pt idx="72">
                  <c:v>14.03.2021</c:v>
                </c:pt>
              </c:strCache>
            </c:strRef>
          </c:cat>
          <c:val>
            <c:numRef>
              <c:f>Sheet1!$B$4:$BV$4</c:f>
              <c:numCache>
                <c:formatCode>General</c:formatCode>
                <c:ptCount val="73"/>
                <c:pt idx="49" formatCode="#,##0">
                  <c:v>6659.6154455943533</c:v>
                </c:pt>
                <c:pt idx="50" formatCode="#,##0">
                  <c:v>6764.8777222176132</c:v>
                </c:pt>
                <c:pt idx="51" formatCode="#,##0">
                  <c:v>6895.4494539466959</c:v>
                </c:pt>
                <c:pt idx="52" formatCode="#,##0">
                  <c:v>7044.1169989352102</c:v>
                </c:pt>
                <c:pt idx="53" formatCode="#,##0">
                  <c:v>7204.8717328998009</c:v>
                </c:pt>
                <c:pt idx="54" formatCode="#,##0">
                  <c:v>7381.3264133255061</c:v>
                </c:pt>
                <c:pt idx="55" formatCode="#,##0">
                  <c:v>7574.5921651194185</c:v>
                </c:pt>
                <c:pt idx="56" formatCode="#,##0">
                  <c:v>7782.9613685191089</c:v>
                </c:pt>
                <c:pt idx="57" formatCode="#,##0">
                  <c:v>8008.0186373907427</c:v>
                </c:pt>
                <c:pt idx="58" formatCode="#,##0">
                  <c:v>8247.6915633853259</c:v>
                </c:pt>
                <c:pt idx="59" formatCode="#,##0">
                  <c:v>8498.9990078418941</c:v>
                </c:pt>
                <c:pt idx="60" formatCode="#,##0">
                  <c:v>8761.7813808140127</c:v>
                </c:pt>
                <c:pt idx="61" formatCode="#,##0">
                  <c:v>9038.6529267810856</c:v>
                </c:pt>
                <c:pt idx="62" formatCode="#,##0">
                  <c:v>9330.5867526346938</c:v>
                </c:pt>
                <c:pt idx="63" formatCode="#,##0">
                  <c:v>9638.0266716825136</c:v>
                </c:pt>
                <c:pt idx="64" formatCode="#,##0">
                  <c:v>9960.0164651868945</c:v>
                </c:pt>
                <c:pt idx="65" formatCode="#,##0">
                  <c:v>10295.105862985723</c:v>
                </c:pt>
                <c:pt idx="66" formatCode="#,##0">
                  <c:v>10642.154917756741</c:v>
                </c:pt>
                <c:pt idx="67" formatCode="#,##0">
                  <c:v>11002.112945330127</c:v>
                </c:pt>
                <c:pt idx="68" formatCode="#,##0">
                  <c:v>11376.384814996483</c:v>
                </c:pt>
                <c:pt idx="69" formatCode="#,##0">
                  <c:v>11765.141422878985</c:v>
                </c:pt>
                <c:pt idx="70" formatCode="#,##0">
                  <c:v>12168.535603923207</c:v>
                </c:pt>
                <c:pt idx="71" formatCode="#,##0">
                  <c:v>12586.687689759254</c:v>
                </c:pt>
                <c:pt idx="72" formatCode="#,##0">
                  <c:v>13019.934429455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875-450C-8897-44929F3F52C5}"/>
            </c:ext>
          </c:extLst>
        </c:ser>
        <c:ser>
          <c:idx val="4"/>
          <c:order val="2"/>
          <c:tx>
            <c:strRef>
              <c:f>Sheet1!$A$6</c:f>
              <c:strCache>
                <c:ptCount val="1"/>
                <c:pt idx="0">
                  <c:v>x</c:v>
                </c:pt>
              </c:strCache>
            </c:strRef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strRef>
              <c:f>Sheet1!$B$1:$BV$1</c:f>
              <c:strCache>
                <c:ptCount val="73"/>
                <c:pt idx="0">
                  <c:v>01.01.2021</c:v>
                </c:pt>
                <c:pt idx="1">
                  <c:v>02.01.2021</c:v>
                </c:pt>
                <c:pt idx="2">
                  <c:v>03.01.2021</c:v>
                </c:pt>
                <c:pt idx="3">
                  <c:v>04.01.2021</c:v>
                </c:pt>
                <c:pt idx="4">
                  <c:v>05.01.2021</c:v>
                </c:pt>
                <c:pt idx="5">
                  <c:v>06.01.2021</c:v>
                </c:pt>
                <c:pt idx="6">
                  <c:v>07.01.2021</c:v>
                </c:pt>
                <c:pt idx="7">
                  <c:v>08.01.2021</c:v>
                </c:pt>
                <c:pt idx="8">
                  <c:v>09.01.2021</c:v>
                </c:pt>
                <c:pt idx="9">
                  <c:v>10.01.2021</c:v>
                </c:pt>
                <c:pt idx="10">
                  <c:v>11.01.2021</c:v>
                </c:pt>
                <c:pt idx="11">
                  <c:v>12.01.2021</c:v>
                </c:pt>
                <c:pt idx="12">
                  <c:v>13.01.2021</c:v>
                </c:pt>
                <c:pt idx="13">
                  <c:v>14.01.2021</c:v>
                </c:pt>
                <c:pt idx="14">
                  <c:v>15.01.2021</c:v>
                </c:pt>
                <c:pt idx="15">
                  <c:v>16.01.2021</c:v>
                </c:pt>
                <c:pt idx="16">
                  <c:v>17.01.2021</c:v>
                </c:pt>
                <c:pt idx="17">
                  <c:v>18.01.2021</c:v>
                </c:pt>
                <c:pt idx="18">
                  <c:v>19.01.2021</c:v>
                </c:pt>
                <c:pt idx="19">
                  <c:v>20.01.2021</c:v>
                </c:pt>
                <c:pt idx="20">
                  <c:v>21.01.2021</c:v>
                </c:pt>
                <c:pt idx="21">
                  <c:v>22.01.2021</c:v>
                </c:pt>
                <c:pt idx="22">
                  <c:v>23.01.2021</c:v>
                </c:pt>
                <c:pt idx="23">
                  <c:v>24.01.2021</c:v>
                </c:pt>
                <c:pt idx="24">
                  <c:v>25.01.2021</c:v>
                </c:pt>
                <c:pt idx="25">
                  <c:v>26.01.2021</c:v>
                </c:pt>
                <c:pt idx="26">
                  <c:v>27.01.2021</c:v>
                </c:pt>
                <c:pt idx="27">
                  <c:v>28.01.2021</c:v>
                </c:pt>
                <c:pt idx="28">
                  <c:v>29.01.2021</c:v>
                </c:pt>
                <c:pt idx="29">
                  <c:v>30.01.2021</c:v>
                </c:pt>
                <c:pt idx="30">
                  <c:v>31.01.2021</c:v>
                </c:pt>
                <c:pt idx="31">
                  <c:v>01.02.2021</c:v>
                </c:pt>
                <c:pt idx="32">
                  <c:v>02.02.2021</c:v>
                </c:pt>
                <c:pt idx="33">
                  <c:v>03.02.2021</c:v>
                </c:pt>
                <c:pt idx="34">
                  <c:v>04.02.2021</c:v>
                </c:pt>
                <c:pt idx="35">
                  <c:v>05.02.2021</c:v>
                </c:pt>
                <c:pt idx="36">
                  <c:v>06.02.2021</c:v>
                </c:pt>
                <c:pt idx="37">
                  <c:v>07.02.2021</c:v>
                </c:pt>
                <c:pt idx="38">
                  <c:v>08.02.2021</c:v>
                </c:pt>
                <c:pt idx="39">
                  <c:v>09.02.2021</c:v>
                </c:pt>
                <c:pt idx="40">
                  <c:v>10.02.2021</c:v>
                </c:pt>
                <c:pt idx="41">
                  <c:v>11.02.2021</c:v>
                </c:pt>
                <c:pt idx="42">
                  <c:v>12.02.2021</c:v>
                </c:pt>
                <c:pt idx="43">
                  <c:v>13.02.2021</c:v>
                </c:pt>
                <c:pt idx="44">
                  <c:v>14.02.2021</c:v>
                </c:pt>
                <c:pt idx="45">
                  <c:v>15.02.2021</c:v>
                </c:pt>
                <c:pt idx="46">
                  <c:v>16.02.2021</c:v>
                </c:pt>
                <c:pt idx="47">
                  <c:v>17.02.2021</c:v>
                </c:pt>
                <c:pt idx="48">
                  <c:v>18.02.2021</c:v>
                </c:pt>
                <c:pt idx="49">
                  <c:v>19.02.2021</c:v>
                </c:pt>
                <c:pt idx="50">
                  <c:v>20.02.2021</c:v>
                </c:pt>
                <c:pt idx="51">
                  <c:v>21.02.2021</c:v>
                </c:pt>
                <c:pt idx="52">
                  <c:v>22.02.2021</c:v>
                </c:pt>
                <c:pt idx="53">
                  <c:v>23.02.2021</c:v>
                </c:pt>
                <c:pt idx="54">
                  <c:v>24.02.2021</c:v>
                </c:pt>
                <c:pt idx="55">
                  <c:v>25.02.2021</c:v>
                </c:pt>
                <c:pt idx="56">
                  <c:v>26.02.2021</c:v>
                </c:pt>
                <c:pt idx="57">
                  <c:v>27.02.2021</c:v>
                </c:pt>
                <c:pt idx="58">
                  <c:v>28.02.2021</c:v>
                </c:pt>
                <c:pt idx="59">
                  <c:v>01.03.2021</c:v>
                </c:pt>
                <c:pt idx="60">
                  <c:v>02.03.2021</c:v>
                </c:pt>
                <c:pt idx="61">
                  <c:v>03.03.2021</c:v>
                </c:pt>
                <c:pt idx="62">
                  <c:v>04.03.2021</c:v>
                </c:pt>
                <c:pt idx="63">
                  <c:v>05.03.2021</c:v>
                </c:pt>
                <c:pt idx="64">
                  <c:v>06.03.2021</c:v>
                </c:pt>
                <c:pt idx="65">
                  <c:v>07.03.2021</c:v>
                </c:pt>
                <c:pt idx="66">
                  <c:v>08.03.2021</c:v>
                </c:pt>
                <c:pt idx="67">
                  <c:v>09.03.2021</c:v>
                </c:pt>
                <c:pt idx="68">
                  <c:v>10.03.2021</c:v>
                </c:pt>
                <c:pt idx="69">
                  <c:v>11.03.2021</c:v>
                </c:pt>
                <c:pt idx="70">
                  <c:v>12.03.2021</c:v>
                </c:pt>
                <c:pt idx="71">
                  <c:v>13.03.2021</c:v>
                </c:pt>
                <c:pt idx="72">
                  <c:v>14.03.2021</c:v>
                </c:pt>
              </c:strCache>
            </c:strRef>
          </c:cat>
          <c:val>
            <c:numRef>
              <c:f>Sheet1!$B$6:$BV$6</c:f>
              <c:numCache>
                <c:formatCode>#,##0</c:formatCode>
                <c:ptCount val="73"/>
                <c:pt idx="0">
                  <c:v>8155</c:v>
                </c:pt>
                <c:pt idx="1">
                  <c:v>8155</c:v>
                </c:pt>
                <c:pt idx="2">
                  <c:v>8155</c:v>
                </c:pt>
                <c:pt idx="3">
                  <c:v>8155</c:v>
                </c:pt>
                <c:pt idx="4">
                  <c:v>8155</c:v>
                </c:pt>
                <c:pt idx="5">
                  <c:v>8155</c:v>
                </c:pt>
                <c:pt idx="6">
                  <c:v>8155</c:v>
                </c:pt>
                <c:pt idx="7">
                  <c:v>8155</c:v>
                </c:pt>
                <c:pt idx="8">
                  <c:v>8155</c:v>
                </c:pt>
                <c:pt idx="9">
                  <c:v>8155</c:v>
                </c:pt>
                <c:pt idx="10">
                  <c:v>8155</c:v>
                </c:pt>
                <c:pt idx="11">
                  <c:v>8155</c:v>
                </c:pt>
                <c:pt idx="12">
                  <c:v>8155</c:v>
                </c:pt>
                <c:pt idx="13">
                  <c:v>8155</c:v>
                </c:pt>
                <c:pt idx="14">
                  <c:v>8155</c:v>
                </c:pt>
                <c:pt idx="15">
                  <c:v>8155</c:v>
                </c:pt>
                <c:pt idx="16">
                  <c:v>8155</c:v>
                </c:pt>
                <c:pt idx="17">
                  <c:v>8155</c:v>
                </c:pt>
                <c:pt idx="18">
                  <c:v>8155</c:v>
                </c:pt>
                <c:pt idx="19">
                  <c:v>8155</c:v>
                </c:pt>
                <c:pt idx="20">
                  <c:v>8155</c:v>
                </c:pt>
                <c:pt idx="21">
                  <c:v>8155</c:v>
                </c:pt>
                <c:pt idx="22">
                  <c:v>8155</c:v>
                </c:pt>
                <c:pt idx="23">
                  <c:v>8155</c:v>
                </c:pt>
                <c:pt idx="24">
                  <c:v>8155</c:v>
                </c:pt>
                <c:pt idx="25">
                  <c:v>8155</c:v>
                </c:pt>
                <c:pt idx="26">
                  <c:v>8155</c:v>
                </c:pt>
                <c:pt idx="27">
                  <c:v>8155</c:v>
                </c:pt>
                <c:pt idx="28">
                  <c:v>8155</c:v>
                </c:pt>
                <c:pt idx="29">
                  <c:v>8155</c:v>
                </c:pt>
                <c:pt idx="30">
                  <c:v>8155</c:v>
                </c:pt>
                <c:pt idx="31">
                  <c:v>8155</c:v>
                </c:pt>
                <c:pt idx="32">
                  <c:v>8155</c:v>
                </c:pt>
                <c:pt idx="33">
                  <c:v>8155</c:v>
                </c:pt>
                <c:pt idx="34">
                  <c:v>8155</c:v>
                </c:pt>
                <c:pt idx="35">
                  <c:v>8155</c:v>
                </c:pt>
                <c:pt idx="36">
                  <c:v>8155</c:v>
                </c:pt>
                <c:pt idx="37">
                  <c:v>8155</c:v>
                </c:pt>
                <c:pt idx="38">
                  <c:v>8155</c:v>
                </c:pt>
                <c:pt idx="39">
                  <c:v>8155</c:v>
                </c:pt>
                <c:pt idx="40">
                  <c:v>8155</c:v>
                </c:pt>
                <c:pt idx="41">
                  <c:v>8155</c:v>
                </c:pt>
                <c:pt idx="42">
                  <c:v>8155</c:v>
                </c:pt>
                <c:pt idx="43">
                  <c:v>8155</c:v>
                </c:pt>
                <c:pt idx="44">
                  <c:v>8155</c:v>
                </c:pt>
                <c:pt idx="45">
                  <c:v>8155</c:v>
                </c:pt>
                <c:pt idx="46">
                  <c:v>8155</c:v>
                </c:pt>
                <c:pt idx="47">
                  <c:v>8155</c:v>
                </c:pt>
                <c:pt idx="48">
                  <c:v>8155</c:v>
                </c:pt>
                <c:pt idx="49">
                  <c:v>8155</c:v>
                </c:pt>
                <c:pt idx="50">
                  <c:v>8155</c:v>
                </c:pt>
                <c:pt idx="51">
                  <c:v>8155</c:v>
                </c:pt>
                <c:pt idx="52">
                  <c:v>8155</c:v>
                </c:pt>
                <c:pt idx="53">
                  <c:v>8155</c:v>
                </c:pt>
                <c:pt idx="54">
                  <c:v>8155</c:v>
                </c:pt>
                <c:pt idx="55">
                  <c:v>8155</c:v>
                </c:pt>
                <c:pt idx="56">
                  <c:v>8155</c:v>
                </c:pt>
                <c:pt idx="57">
                  <c:v>8155</c:v>
                </c:pt>
                <c:pt idx="58">
                  <c:v>8155</c:v>
                </c:pt>
                <c:pt idx="59">
                  <c:v>8155</c:v>
                </c:pt>
                <c:pt idx="60">
                  <c:v>8155</c:v>
                </c:pt>
                <c:pt idx="61">
                  <c:v>8155</c:v>
                </c:pt>
                <c:pt idx="62">
                  <c:v>8155</c:v>
                </c:pt>
                <c:pt idx="63">
                  <c:v>8155</c:v>
                </c:pt>
                <c:pt idx="64">
                  <c:v>8155</c:v>
                </c:pt>
                <c:pt idx="65">
                  <c:v>8155</c:v>
                </c:pt>
                <c:pt idx="66">
                  <c:v>8155</c:v>
                </c:pt>
                <c:pt idx="67">
                  <c:v>8155</c:v>
                </c:pt>
                <c:pt idx="68">
                  <c:v>8155</c:v>
                </c:pt>
                <c:pt idx="69">
                  <c:v>8155</c:v>
                </c:pt>
                <c:pt idx="70">
                  <c:v>8155</c:v>
                </c:pt>
                <c:pt idx="71">
                  <c:v>8155</c:v>
                </c:pt>
                <c:pt idx="72">
                  <c:v>81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875-450C-8897-44929F3F52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catAx>
        <c:axId val="2980031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Algn val="ctr"/>
        <c:lblOffset val="100"/>
        <c:tickLblSkip val="1"/>
        <c:noMultiLvlLbl val="1"/>
      </c:cat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4"/>
          <c:tx>
            <c:strRef>
              <c:f>Sheet1!$A$7</c:f>
              <c:strCache>
                <c:ptCount val="1"/>
                <c:pt idx="0">
                  <c:v>x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BV$1</c:f>
              <c:strCache>
                <c:ptCount val="73"/>
                <c:pt idx="0">
                  <c:v>01.01.2021</c:v>
                </c:pt>
                <c:pt idx="1">
                  <c:v>02.01.2021</c:v>
                </c:pt>
                <c:pt idx="2">
                  <c:v>03.01.2021</c:v>
                </c:pt>
                <c:pt idx="3">
                  <c:v>04.01.2021</c:v>
                </c:pt>
                <c:pt idx="4">
                  <c:v>05.01.2021</c:v>
                </c:pt>
                <c:pt idx="5">
                  <c:v>06.01.2021</c:v>
                </c:pt>
                <c:pt idx="6">
                  <c:v>07.01.2021</c:v>
                </c:pt>
                <c:pt idx="7">
                  <c:v>08.01.2021</c:v>
                </c:pt>
                <c:pt idx="8">
                  <c:v>09.01.2021</c:v>
                </c:pt>
                <c:pt idx="9">
                  <c:v>10.01.2021</c:v>
                </c:pt>
                <c:pt idx="10">
                  <c:v>11.01.2021</c:v>
                </c:pt>
                <c:pt idx="11">
                  <c:v>12.01.2021</c:v>
                </c:pt>
                <c:pt idx="12">
                  <c:v>13.01.2021</c:v>
                </c:pt>
                <c:pt idx="13">
                  <c:v>14.01.2021</c:v>
                </c:pt>
                <c:pt idx="14">
                  <c:v>15.01.2021</c:v>
                </c:pt>
                <c:pt idx="15">
                  <c:v>16.01.2021</c:v>
                </c:pt>
                <c:pt idx="16">
                  <c:v>17.01.2021</c:v>
                </c:pt>
                <c:pt idx="17">
                  <c:v>18.01.2021</c:v>
                </c:pt>
                <c:pt idx="18">
                  <c:v>19.01.2021</c:v>
                </c:pt>
                <c:pt idx="19">
                  <c:v>20.01.2021</c:v>
                </c:pt>
                <c:pt idx="20">
                  <c:v>21.01.2021</c:v>
                </c:pt>
                <c:pt idx="21">
                  <c:v>22.01.2021</c:v>
                </c:pt>
                <c:pt idx="22">
                  <c:v>23.01.2021</c:v>
                </c:pt>
                <c:pt idx="23">
                  <c:v>24.01.2021</c:v>
                </c:pt>
                <c:pt idx="24">
                  <c:v>25.01.2021</c:v>
                </c:pt>
                <c:pt idx="25">
                  <c:v>26.01.2021</c:v>
                </c:pt>
                <c:pt idx="26">
                  <c:v>27.01.2021</c:v>
                </c:pt>
                <c:pt idx="27">
                  <c:v>28.01.2021</c:v>
                </c:pt>
                <c:pt idx="28">
                  <c:v>29.01.2021</c:v>
                </c:pt>
                <c:pt idx="29">
                  <c:v>30.01.2021</c:v>
                </c:pt>
                <c:pt idx="30">
                  <c:v>31.01.2021</c:v>
                </c:pt>
                <c:pt idx="31">
                  <c:v>01.02.2021</c:v>
                </c:pt>
                <c:pt idx="32">
                  <c:v>02.02.2021</c:v>
                </c:pt>
                <c:pt idx="33">
                  <c:v>03.02.2021</c:v>
                </c:pt>
                <c:pt idx="34">
                  <c:v>04.02.2021</c:v>
                </c:pt>
                <c:pt idx="35">
                  <c:v>05.02.2021</c:v>
                </c:pt>
                <c:pt idx="36">
                  <c:v>06.02.2021</c:v>
                </c:pt>
                <c:pt idx="37">
                  <c:v>07.02.2021</c:v>
                </c:pt>
                <c:pt idx="38">
                  <c:v>08.02.2021</c:v>
                </c:pt>
                <c:pt idx="39">
                  <c:v>09.02.2021</c:v>
                </c:pt>
                <c:pt idx="40">
                  <c:v>10.02.2021</c:v>
                </c:pt>
                <c:pt idx="41">
                  <c:v>11.02.2021</c:v>
                </c:pt>
                <c:pt idx="42">
                  <c:v>12.02.2021</c:v>
                </c:pt>
                <c:pt idx="43">
                  <c:v>13.02.2021</c:v>
                </c:pt>
                <c:pt idx="44">
                  <c:v>14.02.2021</c:v>
                </c:pt>
                <c:pt idx="45">
                  <c:v>15.02.2021</c:v>
                </c:pt>
                <c:pt idx="46">
                  <c:v>16.02.2021</c:v>
                </c:pt>
                <c:pt idx="47">
                  <c:v>17.02.2021</c:v>
                </c:pt>
                <c:pt idx="48">
                  <c:v>18.02.2021</c:v>
                </c:pt>
                <c:pt idx="49">
                  <c:v>19.02.2021</c:v>
                </c:pt>
                <c:pt idx="50">
                  <c:v>20.02.2021</c:v>
                </c:pt>
                <c:pt idx="51">
                  <c:v>21.02.2021</c:v>
                </c:pt>
                <c:pt idx="52">
                  <c:v>22.02.2021</c:v>
                </c:pt>
                <c:pt idx="53">
                  <c:v>23.02.2021</c:v>
                </c:pt>
                <c:pt idx="54">
                  <c:v>24.02.2021</c:v>
                </c:pt>
                <c:pt idx="55">
                  <c:v>25.02.2021</c:v>
                </c:pt>
                <c:pt idx="56">
                  <c:v>26.02.2021</c:v>
                </c:pt>
                <c:pt idx="57">
                  <c:v>27.02.2021</c:v>
                </c:pt>
                <c:pt idx="58">
                  <c:v>28.02.2021</c:v>
                </c:pt>
                <c:pt idx="59">
                  <c:v>01.03.2021</c:v>
                </c:pt>
                <c:pt idx="60">
                  <c:v>02.03.2021</c:v>
                </c:pt>
                <c:pt idx="61">
                  <c:v>03.03.2021</c:v>
                </c:pt>
                <c:pt idx="62">
                  <c:v>04.03.2021</c:v>
                </c:pt>
                <c:pt idx="63">
                  <c:v>05.03.2021</c:v>
                </c:pt>
                <c:pt idx="64">
                  <c:v>06.03.2021</c:v>
                </c:pt>
                <c:pt idx="65">
                  <c:v>07.03.2021</c:v>
                </c:pt>
                <c:pt idx="66">
                  <c:v>08.03.2021</c:v>
                </c:pt>
                <c:pt idx="67">
                  <c:v>09.03.2021</c:v>
                </c:pt>
                <c:pt idx="68">
                  <c:v>10.03.2021</c:v>
                </c:pt>
                <c:pt idx="69">
                  <c:v>11.03.2021</c:v>
                </c:pt>
                <c:pt idx="70">
                  <c:v>12.03.2021</c:v>
                </c:pt>
                <c:pt idx="71">
                  <c:v>13.03.2021</c:v>
                </c:pt>
                <c:pt idx="72">
                  <c:v>14.03.2021</c:v>
                </c:pt>
              </c:strCache>
            </c:strRef>
          </c:cat>
          <c:val>
            <c:numRef>
              <c:f>Sheet1!$B$7:$BV$7</c:f>
              <c:numCache>
                <c:formatCode>#,##0</c:formatCode>
                <c:ptCount val="73"/>
                <c:pt idx="0">
                  <c:v>947</c:v>
                </c:pt>
                <c:pt idx="1">
                  <c:v>957</c:v>
                </c:pt>
                <c:pt idx="2">
                  <c:v>1002</c:v>
                </c:pt>
                <c:pt idx="3">
                  <c:v>1088</c:v>
                </c:pt>
                <c:pt idx="4">
                  <c:v>1109</c:v>
                </c:pt>
                <c:pt idx="5">
                  <c:v>1147</c:v>
                </c:pt>
                <c:pt idx="6">
                  <c:v>1146</c:v>
                </c:pt>
                <c:pt idx="7">
                  <c:v>1140</c:v>
                </c:pt>
                <c:pt idx="8">
                  <c:v>1146</c:v>
                </c:pt>
                <c:pt idx="9">
                  <c:v>1172</c:v>
                </c:pt>
                <c:pt idx="10">
                  <c:v>1185</c:v>
                </c:pt>
                <c:pt idx="11">
                  <c:v>1170</c:v>
                </c:pt>
                <c:pt idx="12">
                  <c:v>1167</c:v>
                </c:pt>
                <c:pt idx="13">
                  <c:v>1176</c:v>
                </c:pt>
                <c:pt idx="14">
                  <c:v>1167</c:v>
                </c:pt>
                <c:pt idx="15">
                  <c:v>1157</c:v>
                </c:pt>
                <c:pt idx="16">
                  <c:v>1128</c:v>
                </c:pt>
                <c:pt idx="17">
                  <c:v>1153</c:v>
                </c:pt>
                <c:pt idx="18">
                  <c:v>1134</c:v>
                </c:pt>
                <c:pt idx="19">
                  <c:v>1109</c:v>
                </c:pt>
                <c:pt idx="20">
                  <c:v>1102</c:v>
                </c:pt>
                <c:pt idx="21">
                  <c:v>1107</c:v>
                </c:pt>
                <c:pt idx="22">
                  <c:v>1090</c:v>
                </c:pt>
                <c:pt idx="23">
                  <c:v>1057</c:v>
                </c:pt>
                <c:pt idx="24">
                  <c:v>1079</c:v>
                </c:pt>
                <c:pt idx="25">
                  <c:v>1047</c:v>
                </c:pt>
                <c:pt idx="26">
                  <c:v>1038</c:v>
                </c:pt>
                <c:pt idx="27">
                  <c:v>1019</c:v>
                </c:pt>
                <c:pt idx="28">
                  <c:v>1019</c:v>
                </c:pt>
                <c:pt idx="29">
                  <c:v>1023</c:v>
                </c:pt>
                <c:pt idx="30">
                  <c:v>1040</c:v>
                </c:pt>
                <c:pt idx="31">
                  <c:v>1079</c:v>
                </c:pt>
                <c:pt idx="32">
                  <c:v>1088</c:v>
                </c:pt>
                <c:pt idx="33">
                  <c:v>1076</c:v>
                </c:pt>
                <c:pt idx="34">
                  <c:v>1104</c:v>
                </c:pt>
                <c:pt idx="35">
                  <c:v>1089</c:v>
                </c:pt>
                <c:pt idx="36">
                  <c:v>1072</c:v>
                </c:pt>
                <c:pt idx="37">
                  <c:v>1098</c:v>
                </c:pt>
                <c:pt idx="38">
                  <c:v>1106</c:v>
                </c:pt>
                <c:pt idx="39">
                  <c:v>1089</c:v>
                </c:pt>
                <c:pt idx="40">
                  <c:v>1102</c:v>
                </c:pt>
                <c:pt idx="41">
                  <c:v>1110</c:v>
                </c:pt>
                <c:pt idx="42">
                  <c:v>1106</c:v>
                </c:pt>
                <c:pt idx="43">
                  <c:v>1100</c:v>
                </c:pt>
                <c:pt idx="44">
                  <c:v>1140</c:v>
                </c:pt>
                <c:pt idx="45">
                  <c:v>1164</c:v>
                </c:pt>
                <c:pt idx="46">
                  <c:v>1208</c:v>
                </c:pt>
                <c:pt idx="47">
                  <c:v>1239</c:v>
                </c:pt>
                <c:pt idx="48">
                  <c:v>1266</c:v>
                </c:pt>
                <c:pt idx="49">
                  <c:v>1267</c:v>
                </c:pt>
                <c:pt idx="50">
                  <c:v>1267</c:v>
                </c:pt>
                <c:pt idx="51">
                  <c:v>1280</c:v>
                </c:pt>
                <c:pt idx="52">
                  <c:v>1362</c:v>
                </c:pt>
                <c:pt idx="53">
                  <c:v>1387</c:v>
                </c:pt>
                <c:pt idx="54">
                  <c:v>1403</c:v>
                </c:pt>
                <c:pt idx="55">
                  <c:v>1457</c:v>
                </c:pt>
                <c:pt idx="56">
                  <c:v>1436</c:v>
                </c:pt>
                <c:pt idx="57">
                  <c:v>1466</c:v>
                </c:pt>
                <c:pt idx="58">
                  <c:v>1504</c:v>
                </c:pt>
                <c:pt idx="59">
                  <c:v>1586</c:v>
                </c:pt>
                <c:pt idx="60">
                  <c:v>1596</c:v>
                </c:pt>
                <c:pt idx="61">
                  <c:v>1623</c:v>
                </c:pt>
                <c:pt idx="62">
                  <c:v>1651</c:v>
                </c:pt>
                <c:pt idx="63">
                  <c:v>1668</c:v>
                </c:pt>
                <c:pt idx="64">
                  <c:v>1667</c:v>
                </c:pt>
                <c:pt idx="65">
                  <c:v>1671</c:v>
                </c:pt>
                <c:pt idx="66">
                  <c:v>1761</c:v>
                </c:pt>
                <c:pt idx="67">
                  <c:v>1802</c:v>
                </c:pt>
                <c:pt idx="68">
                  <c:v>1841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51-48DC-86AD-4105454D7B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strRef>
              <c:f>Sheet1!$A$3</c:f>
              <c:strCache>
                <c:ptCount val="1"/>
                <c:pt idx="0">
                  <c:v>1.1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B$1:$BV$1</c:f>
              <c:strCache>
                <c:ptCount val="73"/>
                <c:pt idx="0">
                  <c:v>01.01.2021</c:v>
                </c:pt>
                <c:pt idx="1">
                  <c:v>02.01.2021</c:v>
                </c:pt>
                <c:pt idx="2">
                  <c:v>03.01.2021</c:v>
                </c:pt>
                <c:pt idx="3">
                  <c:v>04.01.2021</c:v>
                </c:pt>
                <c:pt idx="4">
                  <c:v>05.01.2021</c:v>
                </c:pt>
                <c:pt idx="5">
                  <c:v>06.01.2021</c:v>
                </c:pt>
                <c:pt idx="6">
                  <c:v>07.01.2021</c:v>
                </c:pt>
                <c:pt idx="7">
                  <c:v>08.01.2021</c:v>
                </c:pt>
                <c:pt idx="8">
                  <c:v>09.01.2021</c:v>
                </c:pt>
                <c:pt idx="9">
                  <c:v>10.01.2021</c:v>
                </c:pt>
                <c:pt idx="10">
                  <c:v>11.01.2021</c:v>
                </c:pt>
                <c:pt idx="11">
                  <c:v>12.01.2021</c:v>
                </c:pt>
                <c:pt idx="12">
                  <c:v>13.01.2021</c:v>
                </c:pt>
                <c:pt idx="13">
                  <c:v>14.01.2021</c:v>
                </c:pt>
                <c:pt idx="14">
                  <c:v>15.01.2021</c:v>
                </c:pt>
                <c:pt idx="15">
                  <c:v>16.01.2021</c:v>
                </c:pt>
                <c:pt idx="16">
                  <c:v>17.01.2021</c:v>
                </c:pt>
                <c:pt idx="17">
                  <c:v>18.01.2021</c:v>
                </c:pt>
                <c:pt idx="18">
                  <c:v>19.01.2021</c:v>
                </c:pt>
                <c:pt idx="19">
                  <c:v>20.01.2021</c:v>
                </c:pt>
                <c:pt idx="20">
                  <c:v>21.01.2021</c:v>
                </c:pt>
                <c:pt idx="21">
                  <c:v>22.01.2021</c:v>
                </c:pt>
                <c:pt idx="22">
                  <c:v>23.01.2021</c:v>
                </c:pt>
                <c:pt idx="23">
                  <c:v>24.01.2021</c:v>
                </c:pt>
                <c:pt idx="24">
                  <c:v>25.01.2021</c:v>
                </c:pt>
                <c:pt idx="25">
                  <c:v>26.01.2021</c:v>
                </c:pt>
                <c:pt idx="26">
                  <c:v>27.01.2021</c:v>
                </c:pt>
                <c:pt idx="27">
                  <c:v>28.01.2021</c:v>
                </c:pt>
                <c:pt idx="28">
                  <c:v>29.01.2021</c:v>
                </c:pt>
                <c:pt idx="29">
                  <c:v>30.01.2021</c:v>
                </c:pt>
                <c:pt idx="30">
                  <c:v>31.01.2021</c:v>
                </c:pt>
                <c:pt idx="31">
                  <c:v>01.02.2021</c:v>
                </c:pt>
                <c:pt idx="32">
                  <c:v>02.02.2021</c:v>
                </c:pt>
                <c:pt idx="33">
                  <c:v>03.02.2021</c:v>
                </c:pt>
                <c:pt idx="34">
                  <c:v>04.02.2021</c:v>
                </c:pt>
                <c:pt idx="35">
                  <c:v>05.02.2021</c:v>
                </c:pt>
                <c:pt idx="36">
                  <c:v>06.02.2021</c:v>
                </c:pt>
                <c:pt idx="37">
                  <c:v>07.02.2021</c:v>
                </c:pt>
                <c:pt idx="38">
                  <c:v>08.02.2021</c:v>
                </c:pt>
                <c:pt idx="39">
                  <c:v>09.02.2021</c:v>
                </c:pt>
                <c:pt idx="40">
                  <c:v>10.02.2021</c:v>
                </c:pt>
                <c:pt idx="41">
                  <c:v>11.02.2021</c:v>
                </c:pt>
                <c:pt idx="42">
                  <c:v>12.02.2021</c:v>
                </c:pt>
                <c:pt idx="43">
                  <c:v>13.02.2021</c:v>
                </c:pt>
                <c:pt idx="44">
                  <c:v>14.02.2021</c:v>
                </c:pt>
                <c:pt idx="45">
                  <c:v>15.02.2021</c:v>
                </c:pt>
                <c:pt idx="46">
                  <c:v>16.02.2021</c:v>
                </c:pt>
                <c:pt idx="47">
                  <c:v>17.02.2021</c:v>
                </c:pt>
                <c:pt idx="48">
                  <c:v>18.02.2021</c:v>
                </c:pt>
                <c:pt idx="49">
                  <c:v>19.02.2021</c:v>
                </c:pt>
                <c:pt idx="50">
                  <c:v>20.02.2021</c:v>
                </c:pt>
                <c:pt idx="51">
                  <c:v>21.02.2021</c:v>
                </c:pt>
                <c:pt idx="52">
                  <c:v>22.02.2021</c:v>
                </c:pt>
                <c:pt idx="53">
                  <c:v>23.02.2021</c:v>
                </c:pt>
                <c:pt idx="54">
                  <c:v>24.02.2021</c:v>
                </c:pt>
                <c:pt idx="55">
                  <c:v>25.02.2021</c:v>
                </c:pt>
                <c:pt idx="56">
                  <c:v>26.02.2021</c:v>
                </c:pt>
                <c:pt idx="57">
                  <c:v>27.02.2021</c:v>
                </c:pt>
                <c:pt idx="58">
                  <c:v>28.02.2021</c:v>
                </c:pt>
                <c:pt idx="59">
                  <c:v>01.03.2021</c:v>
                </c:pt>
                <c:pt idx="60">
                  <c:v>02.03.2021</c:v>
                </c:pt>
                <c:pt idx="61">
                  <c:v>03.03.2021</c:v>
                </c:pt>
                <c:pt idx="62">
                  <c:v>04.03.2021</c:v>
                </c:pt>
                <c:pt idx="63">
                  <c:v>05.03.2021</c:v>
                </c:pt>
                <c:pt idx="64">
                  <c:v>06.03.2021</c:v>
                </c:pt>
                <c:pt idx="65">
                  <c:v>07.03.2021</c:v>
                </c:pt>
                <c:pt idx="66">
                  <c:v>08.03.2021</c:v>
                </c:pt>
                <c:pt idx="67">
                  <c:v>09.03.2021</c:v>
                </c:pt>
                <c:pt idx="68">
                  <c:v>10.03.2021</c:v>
                </c:pt>
                <c:pt idx="69">
                  <c:v>11.03.2021</c:v>
                </c:pt>
                <c:pt idx="70">
                  <c:v>12.03.2021</c:v>
                </c:pt>
                <c:pt idx="71">
                  <c:v>13.03.2021</c:v>
                </c:pt>
                <c:pt idx="72">
                  <c:v>14.03.2021</c:v>
                </c:pt>
              </c:strCache>
            </c:strRef>
          </c:cat>
          <c:val>
            <c:numRef>
              <c:f>Sheet1!$B$3:$BV$3</c:f>
              <c:numCache>
                <c:formatCode>General</c:formatCode>
                <c:ptCount val="73"/>
                <c:pt idx="49" formatCode="#,##0">
                  <c:v>1263.9899755089684</c:v>
                </c:pt>
                <c:pt idx="50" formatCode="#,##0">
                  <c:v>1258.2761990344827</c:v>
                </c:pt>
                <c:pt idx="51" formatCode="#,##0">
                  <c:v>1256.8045604706267</c:v>
                </c:pt>
                <c:pt idx="52" formatCode="#,##0">
                  <c:v>1258.4335612799798</c:v>
                </c:pt>
                <c:pt idx="53" formatCode="#,##0">
                  <c:v>1263.1207560438525</c:v>
                </c:pt>
                <c:pt idx="54" formatCode="#,##0">
                  <c:v>1270.4724322045199</c:v>
                </c:pt>
                <c:pt idx="55" formatCode="#,##0">
                  <c:v>1280.5672628275929</c:v>
                </c:pt>
                <c:pt idx="56" formatCode="#,##0">
                  <c:v>1293.2423955536476</c:v>
                </c:pt>
                <c:pt idx="57" formatCode="#,##0">
                  <c:v>1307.5354864117132</c:v>
                </c:pt>
                <c:pt idx="58" formatCode="#,##0">
                  <c:v>1323.3386329629943</c:v>
                </c:pt>
                <c:pt idx="59" formatCode="#,##0">
                  <c:v>1340.3533827013632</c:v>
                </c:pt>
                <c:pt idx="60" formatCode="#,##0">
                  <c:v>1358.3071463058454</c:v>
                </c:pt>
                <c:pt idx="61" formatCode="#,##0">
                  <c:v>1377.4303948170698</c:v>
                </c:pt>
                <c:pt idx="62" formatCode="#,##0">
                  <c:v>1398.0211588006314</c:v>
                </c:pt>
                <c:pt idx="63" formatCode="#,##0">
                  <c:v>1419.8026003118712</c:v>
                </c:pt>
                <c:pt idx="64" formatCode="#,##0">
                  <c:v>1443.0336549807739</c:v>
                </c:pt>
                <c:pt idx="65" formatCode="#,##0">
                  <c:v>1466.9370080432766</c:v>
                </c:pt>
                <c:pt idx="66" formatCode="#,##0">
                  <c:v>1491.8673318589215</c:v>
                </c:pt>
                <c:pt idx="67" formatCode="#,##0">
                  <c:v>1517.4460174076348</c:v>
                </c:pt>
                <c:pt idx="68" formatCode="#,##0">
                  <c:v>1543.9338720763717</c:v>
                </c:pt>
                <c:pt idx="69" formatCode="#,##0">
                  <c:v>1571.3225092260045</c:v>
                </c:pt>
                <c:pt idx="70" formatCode="#,##0">
                  <c:v>1599.6661258209754</c:v>
                </c:pt>
                <c:pt idx="71" formatCode="#,##0">
                  <c:v>1628.8995944396643</c:v>
                </c:pt>
                <c:pt idx="72" formatCode="#,##0">
                  <c:v>1658.708827814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B51-48DC-86AD-4105454D7B81}"/>
            </c:ext>
          </c:extLst>
        </c:ser>
        <c:ser>
          <c:idx val="1"/>
          <c:order val="1"/>
          <c:tx>
            <c:strRef>
              <c:f>Sheet1!$A$4</c:f>
              <c:strCache>
                <c:ptCount val="1"/>
                <c:pt idx="0">
                  <c:v>1.2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B$1:$BV$1</c:f>
              <c:strCache>
                <c:ptCount val="73"/>
                <c:pt idx="0">
                  <c:v>01.01.2021</c:v>
                </c:pt>
                <c:pt idx="1">
                  <c:v>02.01.2021</c:v>
                </c:pt>
                <c:pt idx="2">
                  <c:v>03.01.2021</c:v>
                </c:pt>
                <c:pt idx="3">
                  <c:v>04.01.2021</c:v>
                </c:pt>
                <c:pt idx="4">
                  <c:v>05.01.2021</c:v>
                </c:pt>
                <c:pt idx="5">
                  <c:v>06.01.2021</c:v>
                </c:pt>
                <c:pt idx="6">
                  <c:v>07.01.2021</c:v>
                </c:pt>
                <c:pt idx="7">
                  <c:v>08.01.2021</c:v>
                </c:pt>
                <c:pt idx="8">
                  <c:v>09.01.2021</c:v>
                </c:pt>
                <c:pt idx="9">
                  <c:v>10.01.2021</c:v>
                </c:pt>
                <c:pt idx="10">
                  <c:v>11.01.2021</c:v>
                </c:pt>
                <c:pt idx="11">
                  <c:v>12.01.2021</c:v>
                </c:pt>
                <c:pt idx="12">
                  <c:v>13.01.2021</c:v>
                </c:pt>
                <c:pt idx="13">
                  <c:v>14.01.2021</c:v>
                </c:pt>
                <c:pt idx="14">
                  <c:v>15.01.2021</c:v>
                </c:pt>
                <c:pt idx="15">
                  <c:v>16.01.2021</c:v>
                </c:pt>
                <c:pt idx="16">
                  <c:v>17.01.2021</c:v>
                </c:pt>
                <c:pt idx="17">
                  <c:v>18.01.2021</c:v>
                </c:pt>
                <c:pt idx="18">
                  <c:v>19.01.2021</c:v>
                </c:pt>
                <c:pt idx="19">
                  <c:v>20.01.2021</c:v>
                </c:pt>
                <c:pt idx="20">
                  <c:v>21.01.2021</c:v>
                </c:pt>
                <c:pt idx="21">
                  <c:v>22.01.2021</c:v>
                </c:pt>
                <c:pt idx="22">
                  <c:v>23.01.2021</c:v>
                </c:pt>
                <c:pt idx="23">
                  <c:v>24.01.2021</c:v>
                </c:pt>
                <c:pt idx="24">
                  <c:v>25.01.2021</c:v>
                </c:pt>
                <c:pt idx="25">
                  <c:v>26.01.2021</c:v>
                </c:pt>
                <c:pt idx="26">
                  <c:v>27.01.2021</c:v>
                </c:pt>
                <c:pt idx="27">
                  <c:v>28.01.2021</c:v>
                </c:pt>
                <c:pt idx="28">
                  <c:v>29.01.2021</c:v>
                </c:pt>
                <c:pt idx="29">
                  <c:v>30.01.2021</c:v>
                </c:pt>
                <c:pt idx="30">
                  <c:v>31.01.2021</c:v>
                </c:pt>
                <c:pt idx="31">
                  <c:v>01.02.2021</c:v>
                </c:pt>
                <c:pt idx="32">
                  <c:v>02.02.2021</c:v>
                </c:pt>
                <c:pt idx="33">
                  <c:v>03.02.2021</c:v>
                </c:pt>
                <c:pt idx="34">
                  <c:v>04.02.2021</c:v>
                </c:pt>
                <c:pt idx="35">
                  <c:v>05.02.2021</c:v>
                </c:pt>
                <c:pt idx="36">
                  <c:v>06.02.2021</c:v>
                </c:pt>
                <c:pt idx="37">
                  <c:v>07.02.2021</c:v>
                </c:pt>
                <c:pt idx="38">
                  <c:v>08.02.2021</c:v>
                </c:pt>
                <c:pt idx="39">
                  <c:v>09.02.2021</c:v>
                </c:pt>
                <c:pt idx="40">
                  <c:v>10.02.2021</c:v>
                </c:pt>
                <c:pt idx="41">
                  <c:v>11.02.2021</c:v>
                </c:pt>
                <c:pt idx="42">
                  <c:v>12.02.2021</c:v>
                </c:pt>
                <c:pt idx="43">
                  <c:v>13.02.2021</c:v>
                </c:pt>
                <c:pt idx="44">
                  <c:v>14.02.2021</c:v>
                </c:pt>
                <c:pt idx="45">
                  <c:v>15.02.2021</c:v>
                </c:pt>
                <c:pt idx="46">
                  <c:v>16.02.2021</c:v>
                </c:pt>
                <c:pt idx="47">
                  <c:v>17.02.2021</c:v>
                </c:pt>
                <c:pt idx="48">
                  <c:v>18.02.2021</c:v>
                </c:pt>
                <c:pt idx="49">
                  <c:v>19.02.2021</c:v>
                </c:pt>
                <c:pt idx="50">
                  <c:v>20.02.2021</c:v>
                </c:pt>
                <c:pt idx="51">
                  <c:v>21.02.2021</c:v>
                </c:pt>
                <c:pt idx="52">
                  <c:v>22.02.2021</c:v>
                </c:pt>
                <c:pt idx="53">
                  <c:v>23.02.2021</c:v>
                </c:pt>
                <c:pt idx="54">
                  <c:v>24.02.2021</c:v>
                </c:pt>
                <c:pt idx="55">
                  <c:v>25.02.2021</c:v>
                </c:pt>
                <c:pt idx="56">
                  <c:v>26.02.2021</c:v>
                </c:pt>
                <c:pt idx="57">
                  <c:v>27.02.2021</c:v>
                </c:pt>
                <c:pt idx="58">
                  <c:v>28.02.2021</c:v>
                </c:pt>
                <c:pt idx="59">
                  <c:v>01.03.2021</c:v>
                </c:pt>
                <c:pt idx="60">
                  <c:v>02.03.2021</c:v>
                </c:pt>
                <c:pt idx="61">
                  <c:v>03.03.2021</c:v>
                </c:pt>
                <c:pt idx="62">
                  <c:v>04.03.2021</c:v>
                </c:pt>
                <c:pt idx="63">
                  <c:v>05.03.2021</c:v>
                </c:pt>
                <c:pt idx="64">
                  <c:v>06.03.2021</c:v>
                </c:pt>
                <c:pt idx="65">
                  <c:v>07.03.2021</c:v>
                </c:pt>
                <c:pt idx="66">
                  <c:v>08.03.2021</c:v>
                </c:pt>
                <c:pt idx="67">
                  <c:v>09.03.2021</c:v>
                </c:pt>
                <c:pt idx="68">
                  <c:v>10.03.2021</c:v>
                </c:pt>
                <c:pt idx="69">
                  <c:v>11.03.2021</c:v>
                </c:pt>
                <c:pt idx="70">
                  <c:v>12.03.2021</c:v>
                </c:pt>
                <c:pt idx="71">
                  <c:v>13.03.2021</c:v>
                </c:pt>
                <c:pt idx="72">
                  <c:v>14.03.2021</c:v>
                </c:pt>
              </c:strCache>
            </c:strRef>
          </c:cat>
          <c:val>
            <c:numRef>
              <c:f>Sheet1!$B$4:$BV$4</c:f>
              <c:numCache>
                <c:formatCode>General</c:formatCode>
                <c:ptCount val="73"/>
                <c:pt idx="49" formatCode="#,##0">
                  <c:v>1263.9899755089684</c:v>
                </c:pt>
                <c:pt idx="50" formatCode="#,##0">
                  <c:v>1259.8890879504943</c:v>
                </c:pt>
                <c:pt idx="51" formatCode="#,##0">
                  <c:v>1261.4771050188704</c:v>
                </c:pt>
                <c:pt idx="52" formatCode="#,##0">
                  <c:v>1267.2746774216992</c:v>
                </c:pt>
                <c:pt idx="53" formatCode="#,##0">
                  <c:v>1277.0198453066496</c:v>
                </c:pt>
                <c:pt idx="54" formatCode="#,##0">
                  <c:v>1290.6165871827704</c:v>
                </c:pt>
                <c:pt idx="55" formatCode="#,##0">
                  <c:v>1308.4510393502189</c:v>
                </c:pt>
                <c:pt idx="56" formatCode="#,##0">
                  <c:v>1330.589108425246</c:v>
                </c:pt>
                <c:pt idx="57" formatCode="#,##0">
                  <c:v>1356.2273294246006</c:v>
                </c:pt>
                <c:pt idx="58" formatCode="#,##0">
                  <c:v>1385.0298307131129</c:v>
                </c:pt>
                <c:pt idx="59" formatCode="#,##0">
                  <c:v>1416.5895330943545</c:v>
                </c:pt>
                <c:pt idx="60" formatCode="#,##0">
                  <c:v>1450.7251978706001</c:v>
                </c:pt>
                <c:pt idx="61" formatCode="#,##0">
                  <c:v>1487.8681648313056</c:v>
                </c:pt>
                <c:pt idx="62" formatCode="#,##0">
                  <c:v>1528.3780613107813</c:v>
                </c:pt>
                <c:pt idx="63" formatCode="#,##0">
                  <c:v>1571.9284528826586</c:v>
                </c:pt>
                <c:pt idx="64" formatCode="#,##0">
                  <c:v>1618.7079037215026</c:v>
                </c:pt>
                <c:pt idx="65" formatCode="#,##0">
                  <c:v>1667.896550231874</c:v>
                </c:pt>
                <c:pt idx="66" formatCode="#,##0">
                  <c:v>1719.9138060746811</c:v>
                </c:pt>
                <c:pt idx="67" formatCode="#,##0">
                  <c:v>1774.4792267261992</c:v>
                </c:pt>
                <c:pt idx="68" formatCode="#,##0">
                  <c:v>1831.9070516616055</c:v>
                </c:pt>
                <c:pt idx="69" formatCode="#,##0">
                  <c:v>1892.1593282882293</c:v>
                </c:pt>
                <c:pt idx="70" formatCode="#,##0">
                  <c:v>1955.2716624467414</c:v>
                </c:pt>
                <c:pt idx="71" formatCode="#,##0">
                  <c:v>2021.1970184746297</c:v>
                </c:pt>
                <c:pt idx="72" formatCode="#,##0">
                  <c:v>2089.6925651717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B51-48DC-86AD-4105454D7B81}"/>
            </c:ext>
          </c:extLst>
        </c:ser>
        <c:ser>
          <c:idx val="0"/>
          <c:order val="2"/>
          <c:tx>
            <c:strRef>
              <c:f>Sheet1!$A$5</c:f>
              <c:strCache>
                <c:ptCount val="1"/>
                <c:pt idx="0">
                  <c:v>1.3</c:v>
                </c:pt>
              </c:strCache>
            </c:strRef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strRef>
              <c:f>Sheet1!$B$1:$BV$1</c:f>
              <c:strCache>
                <c:ptCount val="73"/>
                <c:pt idx="0">
                  <c:v>01.01.2021</c:v>
                </c:pt>
                <c:pt idx="1">
                  <c:v>02.01.2021</c:v>
                </c:pt>
                <c:pt idx="2">
                  <c:v>03.01.2021</c:v>
                </c:pt>
                <c:pt idx="3">
                  <c:v>04.01.2021</c:v>
                </c:pt>
                <c:pt idx="4">
                  <c:v>05.01.2021</c:v>
                </c:pt>
                <c:pt idx="5">
                  <c:v>06.01.2021</c:v>
                </c:pt>
                <c:pt idx="6">
                  <c:v>07.01.2021</c:v>
                </c:pt>
                <c:pt idx="7">
                  <c:v>08.01.2021</c:v>
                </c:pt>
                <c:pt idx="8">
                  <c:v>09.01.2021</c:v>
                </c:pt>
                <c:pt idx="9">
                  <c:v>10.01.2021</c:v>
                </c:pt>
                <c:pt idx="10">
                  <c:v>11.01.2021</c:v>
                </c:pt>
                <c:pt idx="11">
                  <c:v>12.01.2021</c:v>
                </c:pt>
                <c:pt idx="12">
                  <c:v>13.01.2021</c:v>
                </c:pt>
                <c:pt idx="13">
                  <c:v>14.01.2021</c:v>
                </c:pt>
                <c:pt idx="14">
                  <c:v>15.01.2021</c:v>
                </c:pt>
                <c:pt idx="15">
                  <c:v>16.01.2021</c:v>
                </c:pt>
                <c:pt idx="16">
                  <c:v>17.01.2021</c:v>
                </c:pt>
                <c:pt idx="17">
                  <c:v>18.01.2021</c:v>
                </c:pt>
                <c:pt idx="18">
                  <c:v>19.01.2021</c:v>
                </c:pt>
                <c:pt idx="19">
                  <c:v>20.01.2021</c:v>
                </c:pt>
                <c:pt idx="20">
                  <c:v>21.01.2021</c:v>
                </c:pt>
                <c:pt idx="21">
                  <c:v>22.01.2021</c:v>
                </c:pt>
                <c:pt idx="22">
                  <c:v>23.01.2021</c:v>
                </c:pt>
                <c:pt idx="23">
                  <c:v>24.01.2021</c:v>
                </c:pt>
                <c:pt idx="24">
                  <c:v>25.01.2021</c:v>
                </c:pt>
                <c:pt idx="25">
                  <c:v>26.01.2021</c:v>
                </c:pt>
                <c:pt idx="26">
                  <c:v>27.01.2021</c:v>
                </c:pt>
                <c:pt idx="27">
                  <c:v>28.01.2021</c:v>
                </c:pt>
                <c:pt idx="28">
                  <c:v>29.01.2021</c:v>
                </c:pt>
                <c:pt idx="29">
                  <c:v>30.01.2021</c:v>
                </c:pt>
                <c:pt idx="30">
                  <c:v>31.01.2021</c:v>
                </c:pt>
                <c:pt idx="31">
                  <c:v>01.02.2021</c:v>
                </c:pt>
                <c:pt idx="32">
                  <c:v>02.02.2021</c:v>
                </c:pt>
                <c:pt idx="33">
                  <c:v>03.02.2021</c:v>
                </c:pt>
                <c:pt idx="34">
                  <c:v>04.02.2021</c:v>
                </c:pt>
                <c:pt idx="35">
                  <c:v>05.02.2021</c:v>
                </c:pt>
                <c:pt idx="36">
                  <c:v>06.02.2021</c:v>
                </c:pt>
                <c:pt idx="37">
                  <c:v>07.02.2021</c:v>
                </c:pt>
                <c:pt idx="38">
                  <c:v>08.02.2021</c:v>
                </c:pt>
                <c:pt idx="39">
                  <c:v>09.02.2021</c:v>
                </c:pt>
                <c:pt idx="40">
                  <c:v>10.02.2021</c:v>
                </c:pt>
                <c:pt idx="41">
                  <c:v>11.02.2021</c:v>
                </c:pt>
                <c:pt idx="42">
                  <c:v>12.02.2021</c:v>
                </c:pt>
                <c:pt idx="43">
                  <c:v>13.02.2021</c:v>
                </c:pt>
                <c:pt idx="44">
                  <c:v>14.02.2021</c:v>
                </c:pt>
                <c:pt idx="45">
                  <c:v>15.02.2021</c:v>
                </c:pt>
                <c:pt idx="46">
                  <c:v>16.02.2021</c:v>
                </c:pt>
                <c:pt idx="47">
                  <c:v>17.02.2021</c:v>
                </c:pt>
                <c:pt idx="48">
                  <c:v>18.02.2021</c:v>
                </c:pt>
                <c:pt idx="49">
                  <c:v>19.02.2021</c:v>
                </c:pt>
                <c:pt idx="50">
                  <c:v>20.02.2021</c:v>
                </c:pt>
                <c:pt idx="51">
                  <c:v>21.02.2021</c:v>
                </c:pt>
                <c:pt idx="52">
                  <c:v>22.02.2021</c:v>
                </c:pt>
                <c:pt idx="53">
                  <c:v>23.02.2021</c:v>
                </c:pt>
                <c:pt idx="54">
                  <c:v>24.02.2021</c:v>
                </c:pt>
                <c:pt idx="55">
                  <c:v>25.02.2021</c:v>
                </c:pt>
                <c:pt idx="56">
                  <c:v>26.02.2021</c:v>
                </c:pt>
                <c:pt idx="57">
                  <c:v>27.02.2021</c:v>
                </c:pt>
                <c:pt idx="58">
                  <c:v>28.02.2021</c:v>
                </c:pt>
                <c:pt idx="59">
                  <c:v>01.03.2021</c:v>
                </c:pt>
                <c:pt idx="60">
                  <c:v>02.03.2021</c:v>
                </c:pt>
                <c:pt idx="61">
                  <c:v>03.03.2021</c:v>
                </c:pt>
                <c:pt idx="62">
                  <c:v>04.03.2021</c:v>
                </c:pt>
                <c:pt idx="63">
                  <c:v>05.03.2021</c:v>
                </c:pt>
                <c:pt idx="64">
                  <c:v>06.03.2021</c:v>
                </c:pt>
                <c:pt idx="65">
                  <c:v>07.03.2021</c:v>
                </c:pt>
                <c:pt idx="66">
                  <c:v>08.03.2021</c:v>
                </c:pt>
                <c:pt idx="67">
                  <c:v>09.03.2021</c:v>
                </c:pt>
                <c:pt idx="68">
                  <c:v>10.03.2021</c:v>
                </c:pt>
                <c:pt idx="69">
                  <c:v>11.03.2021</c:v>
                </c:pt>
                <c:pt idx="70">
                  <c:v>12.03.2021</c:v>
                </c:pt>
                <c:pt idx="71">
                  <c:v>13.03.2021</c:v>
                </c:pt>
                <c:pt idx="72">
                  <c:v>14.03.2021</c:v>
                </c:pt>
              </c:strCache>
            </c:strRef>
          </c:cat>
          <c:val>
            <c:numRef>
              <c:f>Sheet1!$B$5:$BV$5</c:f>
              <c:numCache>
                <c:formatCode>General</c:formatCode>
                <c:ptCount val="73"/>
                <c:pt idx="49" formatCode="#,##0">
                  <c:v>1263.9899755089684</c:v>
                </c:pt>
                <c:pt idx="50" formatCode="#,##0">
                  <c:v>1261.4980620875831</c:v>
                </c:pt>
                <c:pt idx="51" formatCode="#,##0">
                  <c:v>1266.1485134700611</c:v>
                </c:pt>
                <c:pt idx="52" formatCode="#,##0">
                  <c:v>1276.119178971066</c:v>
                </c:pt>
                <c:pt idx="53" formatCode="#,##0">
                  <c:v>1290.9156959706504</c:v>
                </c:pt>
                <c:pt idx="54" formatCode="#,##0">
                  <c:v>1310.8380995624921</c:v>
                </c:pt>
                <c:pt idx="55" formatCode="#,##0">
                  <c:v>1336.6429999362601</c:v>
                </c:pt>
                <c:pt idx="56" formatCode="#,##0">
                  <c:v>1368.6906227945497</c:v>
                </c:pt>
                <c:pt idx="57" formatCode="#,##0">
                  <c:v>1406.3646278076546</c:v>
                </c:pt>
                <c:pt idx="58" formatCode="#,##0">
                  <c:v>1449.1188088282217</c:v>
                </c:pt>
                <c:pt idx="59" formatCode="#,##0">
                  <c:v>1496.4866115481436</c:v>
                </c:pt>
                <c:pt idx="60" formatCode="#,##0">
                  <c:v>1548.4692616138425</c:v>
                </c:pt>
                <c:pt idx="61" formatCode="#,##0">
                  <c:v>1605.8474597215072</c:v>
                </c:pt>
                <c:pt idx="62" formatCode="#,##0">
                  <c:v>1669.1085394887302</c:v>
                </c:pt>
                <c:pt idx="63" formatCode="#,##0">
                  <c:v>1737.9363594993367</c:v>
                </c:pt>
                <c:pt idx="64" formatCode="#,##0">
                  <c:v>1812.5029199008607</c:v>
                </c:pt>
                <c:pt idx="65" formatCode="#,##0">
                  <c:v>1892.0433765655366</c:v>
                </c:pt>
                <c:pt idx="66" formatCode="#,##0">
                  <c:v>1977.1759757529937</c:v>
                </c:pt>
                <c:pt idx="67" formatCode="#,##0">
                  <c:v>2067.8427717103227</c:v>
                </c:pt>
                <c:pt idx="68" formatCode="#,##0">
                  <c:v>2164.5257443758469</c:v>
                </c:pt>
                <c:pt idx="69" formatCode="#,##0">
                  <c:v>2267.2571045649911</c:v>
                </c:pt>
                <c:pt idx="70" formatCode="#,##0">
                  <c:v>2376.1468121892744</c:v>
                </c:pt>
                <c:pt idx="71" formatCode="#,##0">
                  <c:v>2491.3130111066994</c:v>
                </c:pt>
                <c:pt idx="72" formatCode="#,##0">
                  <c:v>2612.73872055599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B51-48DC-86AD-4105454D7B81}"/>
            </c:ext>
          </c:extLst>
        </c:ser>
        <c:ser>
          <c:idx val="4"/>
          <c:order val="3"/>
          <c:tx>
            <c:strRef>
              <c:f>Sheet1!$A$6</c:f>
              <c:strCache>
                <c:ptCount val="1"/>
                <c:pt idx="0">
                  <c:v>x</c:v>
                </c:pt>
              </c:strCache>
            </c:strRef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strRef>
              <c:f>Sheet1!$B$1:$BV$1</c:f>
              <c:strCache>
                <c:ptCount val="73"/>
                <c:pt idx="0">
                  <c:v>01.01.2021</c:v>
                </c:pt>
                <c:pt idx="1">
                  <c:v>02.01.2021</c:v>
                </c:pt>
                <c:pt idx="2">
                  <c:v>03.01.2021</c:v>
                </c:pt>
                <c:pt idx="3">
                  <c:v>04.01.2021</c:v>
                </c:pt>
                <c:pt idx="4">
                  <c:v>05.01.2021</c:v>
                </c:pt>
                <c:pt idx="5">
                  <c:v>06.01.2021</c:v>
                </c:pt>
                <c:pt idx="6">
                  <c:v>07.01.2021</c:v>
                </c:pt>
                <c:pt idx="7">
                  <c:v>08.01.2021</c:v>
                </c:pt>
                <c:pt idx="8">
                  <c:v>09.01.2021</c:v>
                </c:pt>
                <c:pt idx="9">
                  <c:v>10.01.2021</c:v>
                </c:pt>
                <c:pt idx="10">
                  <c:v>11.01.2021</c:v>
                </c:pt>
                <c:pt idx="11">
                  <c:v>12.01.2021</c:v>
                </c:pt>
                <c:pt idx="12">
                  <c:v>13.01.2021</c:v>
                </c:pt>
                <c:pt idx="13">
                  <c:v>14.01.2021</c:v>
                </c:pt>
                <c:pt idx="14">
                  <c:v>15.01.2021</c:v>
                </c:pt>
                <c:pt idx="15">
                  <c:v>16.01.2021</c:v>
                </c:pt>
                <c:pt idx="16">
                  <c:v>17.01.2021</c:v>
                </c:pt>
                <c:pt idx="17">
                  <c:v>18.01.2021</c:v>
                </c:pt>
                <c:pt idx="18">
                  <c:v>19.01.2021</c:v>
                </c:pt>
                <c:pt idx="19">
                  <c:v>20.01.2021</c:v>
                </c:pt>
                <c:pt idx="20">
                  <c:v>21.01.2021</c:v>
                </c:pt>
                <c:pt idx="21">
                  <c:v>22.01.2021</c:v>
                </c:pt>
                <c:pt idx="22">
                  <c:v>23.01.2021</c:v>
                </c:pt>
                <c:pt idx="23">
                  <c:v>24.01.2021</c:v>
                </c:pt>
                <c:pt idx="24">
                  <c:v>25.01.2021</c:v>
                </c:pt>
                <c:pt idx="25">
                  <c:v>26.01.2021</c:v>
                </c:pt>
                <c:pt idx="26">
                  <c:v>27.01.2021</c:v>
                </c:pt>
                <c:pt idx="27">
                  <c:v>28.01.2021</c:v>
                </c:pt>
                <c:pt idx="28">
                  <c:v>29.01.2021</c:v>
                </c:pt>
                <c:pt idx="29">
                  <c:v>30.01.2021</c:v>
                </c:pt>
                <c:pt idx="30">
                  <c:v>31.01.2021</c:v>
                </c:pt>
                <c:pt idx="31">
                  <c:v>01.02.2021</c:v>
                </c:pt>
                <c:pt idx="32">
                  <c:v>02.02.2021</c:v>
                </c:pt>
                <c:pt idx="33">
                  <c:v>03.02.2021</c:v>
                </c:pt>
                <c:pt idx="34">
                  <c:v>04.02.2021</c:v>
                </c:pt>
                <c:pt idx="35">
                  <c:v>05.02.2021</c:v>
                </c:pt>
                <c:pt idx="36">
                  <c:v>06.02.2021</c:v>
                </c:pt>
                <c:pt idx="37">
                  <c:v>07.02.2021</c:v>
                </c:pt>
                <c:pt idx="38">
                  <c:v>08.02.2021</c:v>
                </c:pt>
                <c:pt idx="39">
                  <c:v>09.02.2021</c:v>
                </c:pt>
                <c:pt idx="40">
                  <c:v>10.02.2021</c:v>
                </c:pt>
                <c:pt idx="41">
                  <c:v>11.02.2021</c:v>
                </c:pt>
                <c:pt idx="42">
                  <c:v>12.02.2021</c:v>
                </c:pt>
                <c:pt idx="43">
                  <c:v>13.02.2021</c:v>
                </c:pt>
                <c:pt idx="44">
                  <c:v>14.02.2021</c:v>
                </c:pt>
                <c:pt idx="45">
                  <c:v>15.02.2021</c:v>
                </c:pt>
                <c:pt idx="46">
                  <c:v>16.02.2021</c:v>
                </c:pt>
                <c:pt idx="47">
                  <c:v>17.02.2021</c:v>
                </c:pt>
                <c:pt idx="48">
                  <c:v>18.02.2021</c:v>
                </c:pt>
                <c:pt idx="49">
                  <c:v>19.02.2021</c:v>
                </c:pt>
                <c:pt idx="50">
                  <c:v>20.02.2021</c:v>
                </c:pt>
                <c:pt idx="51">
                  <c:v>21.02.2021</c:v>
                </c:pt>
                <c:pt idx="52">
                  <c:v>22.02.2021</c:v>
                </c:pt>
                <c:pt idx="53">
                  <c:v>23.02.2021</c:v>
                </c:pt>
                <c:pt idx="54">
                  <c:v>24.02.2021</c:v>
                </c:pt>
                <c:pt idx="55">
                  <c:v>25.02.2021</c:v>
                </c:pt>
                <c:pt idx="56">
                  <c:v>26.02.2021</c:v>
                </c:pt>
                <c:pt idx="57">
                  <c:v>27.02.2021</c:v>
                </c:pt>
                <c:pt idx="58">
                  <c:v>28.02.2021</c:v>
                </c:pt>
                <c:pt idx="59">
                  <c:v>01.03.2021</c:v>
                </c:pt>
                <c:pt idx="60">
                  <c:v>02.03.2021</c:v>
                </c:pt>
                <c:pt idx="61">
                  <c:v>03.03.2021</c:v>
                </c:pt>
                <c:pt idx="62">
                  <c:v>04.03.2021</c:v>
                </c:pt>
                <c:pt idx="63">
                  <c:v>05.03.2021</c:v>
                </c:pt>
                <c:pt idx="64">
                  <c:v>06.03.2021</c:v>
                </c:pt>
                <c:pt idx="65">
                  <c:v>07.03.2021</c:v>
                </c:pt>
                <c:pt idx="66">
                  <c:v>08.03.2021</c:v>
                </c:pt>
                <c:pt idx="67">
                  <c:v>09.03.2021</c:v>
                </c:pt>
                <c:pt idx="68">
                  <c:v>10.03.2021</c:v>
                </c:pt>
                <c:pt idx="69">
                  <c:v>11.03.2021</c:v>
                </c:pt>
                <c:pt idx="70">
                  <c:v>12.03.2021</c:v>
                </c:pt>
                <c:pt idx="71">
                  <c:v>13.03.2021</c:v>
                </c:pt>
                <c:pt idx="72">
                  <c:v>14.03.2021</c:v>
                </c:pt>
              </c:strCache>
            </c:strRef>
          </c:cat>
          <c:val>
            <c:numRef>
              <c:f>Sheet1!$B$6:$BV$6</c:f>
              <c:numCache>
                <c:formatCode>#,##0</c:formatCode>
                <c:ptCount val="73"/>
                <c:pt idx="0">
                  <c:v>1209</c:v>
                </c:pt>
                <c:pt idx="1">
                  <c:v>1209</c:v>
                </c:pt>
                <c:pt idx="2">
                  <c:v>1209</c:v>
                </c:pt>
                <c:pt idx="3">
                  <c:v>1209</c:v>
                </c:pt>
                <c:pt idx="4">
                  <c:v>1209</c:v>
                </c:pt>
                <c:pt idx="5">
                  <c:v>1209</c:v>
                </c:pt>
                <c:pt idx="6">
                  <c:v>1209</c:v>
                </c:pt>
                <c:pt idx="7">
                  <c:v>1209</c:v>
                </c:pt>
                <c:pt idx="8">
                  <c:v>1209</c:v>
                </c:pt>
                <c:pt idx="9">
                  <c:v>1209</c:v>
                </c:pt>
                <c:pt idx="10">
                  <c:v>1209</c:v>
                </c:pt>
                <c:pt idx="11">
                  <c:v>1209</c:v>
                </c:pt>
                <c:pt idx="12">
                  <c:v>1209</c:v>
                </c:pt>
                <c:pt idx="13">
                  <c:v>1209</c:v>
                </c:pt>
                <c:pt idx="14">
                  <c:v>1209</c:v>
                </c:pt>
                <c:pt idx="15">
                  <c:v>1209</c:v>
                </c:pt>
                <c:pt idx="16">
                  <c:v>1209</c:v>
                </c:pt>
                <c:pt idx="17">
                  <c:v>1209</c:v>
                </c:pt>
                <c:pt idx="18">
                  <c:v>1209</c:v>
                </c:pt>
                <c:pt idx="19">
                  <c:v>1209</c:v>
                </c:pt>
                <c:pt idx="20">
                  <c:v>1209</c:v>
                </c:pt>
                <c:pt idx="21">
                  <c:v>1209</c:v>
                </c:pt>
                <c:pt idx="22">
                  <c:v>1209</c:v>
                </c:pt>
                <c:pt idx="23">
                  <c:v>1209</c:v>
                </c:pt>
                <c:pt idx="24">
                  <c:v>1209</c:v>
                </c:pt>
                <c:pt idx="25">
                  <c:v>1209</c:v>
                </c:pt>
                <c:pt idx="26">
                  <c:v>1209</c:v>
                </c:pt>
                <c:pt idx="27">
                  <c:v>1209</c:v>
                </c:pt>
                <c:pt idx="28">
                  <c:v>1209</c:v>
                </c:pt>
                <c:pt idx="29">
                  <c:v>1209</c:v>
                </c:pt>
                <c:pt idx="30">
                  <c:v>1209</c:v>
                </c:pt>
                <c:pt idx="31">
                  <c:v>1209</c:v>
                </c:pt>
                <c:pt idx="32">
                  <c:v>1209</c:v>
                </c:pt>
                <c:pt idx="33">
                  <c:v>1209</c:v>
                </c:pt>
                <c:pt idx="34">
                  <c:v>1209</c:v>
                </c:pt>
                <c:pt idx="35">
                  <c:v>1209</c:v>
                </c:pt>
                <c:pt idx="36">
                  <c:v>1209</c:v>
                </c:pt>
                <c:pt idx="37">
                  <c:v>1209</c:v>
                </c:pt>
                <c:pt idx="38">
                  <c:v>1209</c:v>
                </c:pt>
                <c:pt idx="39">
                  <c:v>1209</c:v>
                </c:pt>
                <c:pt idx="40">
                  <c:v>1209</c:v>
                </c:pt>
                <c:pt idx="41">
                  <c:v>1209</c:v>
                </c:pt>
                <c:pt idx="42">
                  <c:v>1209</c:v>
                </c:pt>
                <c:pt idx="43">
                  <c:v>1209</c:v>
                </c:pt>
                <c:pt idx="44">
                  <c:v>1209</c:v>
                </c:pt>
                <c:pt idx="45">
                  <c:v>1209</c:v>
                </c:pt>
                <c:pt idx="46">
                  <c:v>1209</c:v>
                </c:pt>
                <c:pt idx="47">
                  <c:v>1209</c:v>
                </c:pt>
                <c:pt idx="48">
                  <c:v>1209</c:v>
                </c:pt>
                <c:pt idx="49">
                  <c:v>1209</c:v>
                </c:pt>
                <c:pt idx="50">
                  <c:v>1209</c:v>
                </c:pt>
                <c:pt idx="51">
                  <c:v>1209</c:v>
                </c:pt>
                <c:pt idx="52">
                  <c:v>1209</c:v>
                </c:pt>
                <c:pt idx="53">
                  <c:v>1209</c:v>
                </c:pt>
                <c:pt idx="54">
                  <c:v>1209</c:v>
                </c:pt>
                <c:pt idx="55">
                  <c:v>1209</c:v>
                </c:pt>
                <c:pt idx="56">
                  <c:v>1209</c:v>
                </c:pt>
                <c:pt idx="57">
                  <c:v>1209</c:v>
                </c:pt>
                <c:pt idx="58">
                  <c:v>1209</c:v>
                </c:pt>
                <c:pt idx="59">
                  <c:v>1209</c:v>
                </c:pt>
                <c:pt idx="60">
                  <c:v>1209</c:v>
                </c:pt>
                <c:pt idx="61">
                  <c:v>1209</c:v>
                </c:pt>
                <c:pt idx="62">
                  <c:v>1209</c:v>
                </c:pt>
                <c:pt idx="63">
                  <c:v>1209</c:v>
                </c:pt>
                <c:pt idx="64">
                  <c:v>1209</c:v>
                </c:pt>
                <c:pt idx="65">
                  <c:v>1209</c:v>
                </c:pt>
                <c:pt idx="66">
                  <c:v>1209</c:v>
                </c:pt>
                <c:pt idx="67">
                  <c:v>1209</c:v>
                </c:pt>
                <c:pt idx="68">
                  <c:v>1209</c:v>
                </c:pt>
                <c:pt idx="69">
                  <c:v>1209</c:v>
                </c:pt>
                <c:pt idx="70">
                  <c:v>1209</c:v>
                </c:pt>
                <c:pt idx="71">
                  <c:v>1209</c:v>
                </c:pt>
                <c:pt idx="72">
                  <c:v>12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B51-48DC-86AD-4105454D7B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catAx>
        <c:axId val="2980031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Algn val="ctr"/>
        <c:lblOffset val="100"/>
        <c:tickLblSkip val="1"/>
        <c:noMultiLvlLbl val="1"/>
      </c:cat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251231934911546E-2"/>
          <c:y val="0.13807894736842105"/>
          <c:w val="0.91692139603581668"/>
          <c:h val="0.65774488304093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4:$A$193</c:f>
              <c:numCache>
                <c:formatCode>m/d/yyyy</c:formatCode>
                <c:ptCount val="120"/>
                <c:pt idx="0">
                  <c:v>44147</c:v>
                </c:pt>
                <c:pt idx="1">
                  <c:v>44148</c:v>
                </c:pt>
                <c:pt idx="2">
                  <c:v>44149</c:v>
                </c:pt>
                <c:pt idx="3">
                  <c:v>44150</c:v>
                </c:pt>
                <c:pt idx="4">
                  <c:v>44151</c:v>
                </c:pt>
                <c:pt idx="5">
                  <c:v>44152</c:v>
                </c:pt>
                <c:pt idx="6">
                  <c:v>44153</c:v>
                </c:pt>
                <c:pt idx="7">
                  <c:v>44154</c:v>
                </c:pt>
                <c:pt idx="8">
                  <c:v>44155</c:v>
                </c:pt>
                <c:pt idx="9">
                  <c:v>44156</c:v>
                </c:pt>
                <c:pt idx="10">
                  <c:v>44157</c:v>
                </c:pt>
                <c:pt idx="11">
                  <c:v>44158</c:v>
                </c:pt>
                <c:pt idx="12">
                  <c:v>44159</c:v>
                </c:pt>
                <c:pt idx="13">
                  <c:v>44160</c:v>
                </c:pt>
                <c:pt idx="14">
                  <c:v>44161</c:v>
                </c:pt>
                <c:pt idx="15">
                  <c:v>44162</c:v>
                </c:pt>
                <c:pt idx="16">
                  <c:v>44163</c:v>
                </c:pt>
                <c:pt idx="17">
                  <c:v>44164</c:v>
                </c:pt>
                <c:pt idx="18">
                  <c:v>44165</c:v>
                </c:pt>
                <c:pt idx="19">
                  <c:v>44166</c:v>
                </c:pt>
                <c:pt idx="20">
                  <c:v>44167</c:v>
                </c:pt>
                <c:pt idx="21">
                  <c:v>44168</c:v>
                </c:pt>
                <c:pt idx="22">
                  <c:v>44169</c:v>
                </c:pt>
                <c:pt idx="23">
                  <c:v>44170</c:v>
                </c:pt>
                <c:pt idx="24">
                  <c:v>44171</c:v>
                </c:pt>
                <c:pt idx="25">
                  <c:v>44172</c:v>
                </c:pt>
                <c:pt idx="26">
                  <c:v>44173</c:v>
                </c:pt>
                <c:pt idx="27">
                  <c:v>44174</c:v>
                </c:pt>
                <c:pt idx="28">
                  <c:v>44175</c:v>
                </c:pt>
                <c:pt idx="29">
                  <c:v>44176</c:v>
                </c:pt>
                <c:pt idx="30">
                  <c:v>44177</c:v>
                </c:pt>
                <c:pt idx="31">
                  <c:v>44178</c:v>
                </c:pt>
                <c:pt idx="32">
                  <c:v>44179</c:v>
                </c:pt>
                <c:pt idx="33">
                  <c:v>44180</c:v>
                </c:pt>
                <c:pt idx="34">
                  <c:v>44181</c:v>
                </c:pt>
                <c:pt idx="35">
                  <c:v>44182</c:v>
                </c:pt>
                <c:pt idx="36">
                  <c:v>44183</c:v>
                </c:pt>
                <c:pt idx="37">
                  <c:v>44184</c:v>
                </c:pt>
                <c:pt idx="38">
                  <c:v>44185</c:v>
                </c:pt>
                <c:pt idx="39">
                  <c:v>44186</c:v>
                </c:pt>
                <c:pt idx="40">
                  <c:v>44187</c:v>
                </c:pt>
                <c:pt idx="41">
                  <c:v>44188</c:v>
                </c:pt>
                <c:pt idx="42">
                  <c:v>44189</c:v>
                </c:pt>
                <c:pt idx="43">
                  <c:v>44190</c:v>
                </c:pt>
                <c:pt idx="44">
                  <c:v>44191</c:v>
                </c:pt>
                <c:pt idx="45">
                  <c:v>44192</c:v>
                </c:pt>
                <c:pt idx="46">
                  <c:v>44193</c:v>
                </c:pt>
                <c:pt idx="47">
                  <c:v>44194</c:v>
                </c:pt>
                <c:pt idx="48">
                  <c:v>44195</c:v>
                </c:pt>
                <c:pt idx="49">
                  <c:v>44196</c:v>
                </c:pt>
                <c:pt idx="50">
                  <c:v>44197</c:v>
                </c:pt>
                <c:pt idx="51">
                  <c:v>44198</c:v>
                </c:pt>
                <c:pt idx="52">
                  <c:v>44199</c:v>
                </c:pt>
                <c:pt idx="53">
                  <c:v>44200</c:v>
                </c:pt>
                <c:pt idx="54">
                  <c:v>44201</c:v>
                </c:pt>
                <c:pt idx="55">
                  <c:v>44202</c:v>
                </c:pt>
                <c:pt idx="56">
                  <c:v>44203</c:v>
                </c:pt>
                <c:pt idx="57">
                  <c:v>44204</c:v>
                </c:pt>
                <c:pt idx="58">
                  <c:v>44205</c:v>
                </c:pt>
                <c:pt idx="59">
                  <c:v>44206</c:v>
                </c:pt>
                <c:pt idx="60">
                  <c:v>44207</c:v>
                </c:pt>
                <c:pt idx="61">
                  <c:v>44208</c:v>
                </c:pt>
                <c:pt idx="62">
                  <c:v>44209</c:v>
                </c:pt>
                <c:pt idx="63">
                  <c:v>44210</c:v>
                </c:pt>
                <c:pt idx="64">
                  <c:v>44211</c:v>
                </c:pt>
                <c:pt idx="65">
                  <c:v>44212</c:v>
                </c:pt>
                <c:pt idx="66">
                  <c:v>44213</c:v>
                </c:pt>
                <c:pt idx="67">
                  <c:v>44214</c:v>
                </c:pt>
                <c:pt idx="68">
                  <c:v>44215</c:v>
                </c:pt>
                <c:pt idx="69">
                  <c:v>44216</c:v>
                </c:pt>
                <c:pt idx="70">
                  <c:v>44217</c:v>
                </c:pt>
                <c:pt idx="71">
                  <c:v>44218</c:v>
                </c:pt>
                <c:pt idx="72">
                  <c:v>44219</c:v>
                </c:pt>
                <c:pt idx="73">
                  <c:v>44220</c:v>
                </c:pt>
                <c:pt idx="74">
                  <c:v>44221</c:v>
                </c:pt>
                <c:pt idx="75">
                  <c:v>44222</c:v>
                </c:pt>
                <c:pt idx="76">
                  <c:v>44223</c:v>
                </c:pt>
                <c:pt idx="77">
                  <c:v>44224</c:v>
                </c:pt>
                <c:pt idx="78">
                  <c:v>44225</c:v>
                </c:pt>
                <c:pt idx="79">
                  <c:v>44226</c:v>
                </c:pt>
                <c:pt idx="80">
                  <c:v>44227</c:v>
                </c:pt>
                <c:pt idx="81">
                  <c:v>44228</c:v>
                </c:pt>
                <c:pt idx="82">
                  <c:v>44229</c:v>
                </c:pt>
                <c:pt idx="83">
                  <c:v>44230</c:v>
                </c:pt>
                <c:pt idx="84">
                  <c:v>44231</c:v>
                </c:pt>
                <c:pt idx="85">
                  <c:v>44232</c:v>
                </c:pt>
                <c:pt idx="86">
                  <c:v>44233</c:v>
                </c:pt>
                <c:pt idx="87">
                  <c:v>44234</c:v>
                </c:pt>
                <c:pt idx="88">
                  <c:v>44235</c:v>
                </c:pt>
                <c:pt idx="89">
                  <c:v>44236</c:v>
                </c:pt>
                <c:pt idx="90">
                  <c:v>44237</c:v>
                </c:pt>
                <c:pt idx="91">
                  <c:v>44238</c:v>
                </c:pt>
                <c:pt idx="92">
                  <c:v>44239</c:v>
                </c:pt>
                <c:pt idx="93">
                  <c:v>44240</c:v>
                </c:pt>
                <c:pt idx="94">
                  <c:v>44241</c:v>
                </c:pt>
                <c:pt idx="95">
                  <c:v>44242</c:v>
                </c:pt>
                <c:pt idx="96">
                  <c:v>44243</c:v>
                </c:pt>
                <c:pt idx="97">
                  <c:v>44244</c:v>
                </c:pt>
                <c:pt idx="98">
                  <c:v>44245</c:v>
                </c:pt>
                <c:pt idx="99">
                  <c:v>44246</c:v>
                </c:pt>
                <c:pt idx="100">
                  <c:v>44247</c:v>
                </c:pt>
                <c:pt idx="101">
                  <c:v>44248</c:v>
                </c:pt>
                <c:pt idx="102">
                  <c:v>44249</c:v>
                </c:pt>
                <c:pt idx="103">
                  <c:v>44250</c:v>
                </c:pt>
                <c:pt idx="104">
                  <c:v>44251</c:v>
                </c:pt>
                <c:pt idx="105">
                  <c:v>44252</c:v>
                </c:pt>
                <c:pt idx="106">
                  <c:v>44253</c:v>
                </c:pt>
                <c:pt idx="107">
                  <c:v>44254</c:v>
                </c:pt>
                <c:pt idx="108">
                  <c:v>44255</c:v>
                </c:pt>
                <c:pt idx="109">
                  <c:v>44256</c:v>
                </c:pt>
                <c:pt idx="110">
                  <c:v>44257</c:v>
                </c:pt>
                <c:pt idx="111">
                  <c:v>44258</c:v>
                </c:pt>
                <c:pt idx="112">
                  <c:v>44259</c:v>
                </c:pt>
                <c:pt idx="113">
                  <c:v>44260</c:v>
                </c:pt>
                <c:pt idx="114">
                  <c:v>44261</c:v>
                </c:pt>
                <c:pt idx="115">
                  <c:v>44262</c:v>
                </c:pt>
                <c:pt idx="116">
                  <c:v>44263</c:v>
                </c:pt>
                <c:pt idx="117">
                  <c:v>44264</c:v>
                </c:pt>
                <c:pt idx="118">
                  <c:v>44265</c:v>
                </c:pt>
                <c:pt idx="119">
                  <c:v>44266</c:v>
                </c:pt>
              </c:numCache>
            </c:numRef>
          </c:cat>
          <c:val>
            <c:numRef>
              <c:f>Sheet1!$B$74:$B$193</c:f>
              <c:numCache>
                <c:formatCode>General</c:formatCode>
                <c:ptCount val="120"/>
                <c:pt idx="0">
                  <c:v>7874</c:v>
                </c:pt>
                <c:pt idx="1">
                  <c:v>7358</c:v>
                </c:pt>
                <c:pt idx="2">
                  <c:v>4196</c:v>
                </c:pt>
                <c:pt idx="3">
                  <c:v>1891</c:v>
                </c:pt>
                <c:pt idx="4">
                  <c:v>5414</c:v>
                </c:pt>
                <c:pt idx="5">
                  <c:v>4246</c:v>
                </c:pt>
                <c:pt idx="6">
                  <c:v>5514</c:v>
                </c:pt>
                <c:pt idx="7">
                  <c:v>6470</c:v>
                </c:pt>
                <c:pt idx="8">
                  <c:v>5808</c:v>
                </c:pt>
                <c:pt idx="9">
                  <c:v>3191</c:v>
                </c:pt>
                <c:pt idx="10">
                  <c:v>1509</c:v>
                </c:pt>
                <c:pt idx="11">
                  <c:v>4379</c:v>
                </c:pt>
                <c:pt idx="12">
                  <c:v>5861</c:v>
                </c:pt>
                <c:pt idx="13">
                  <c:v>4929</c:v>
                </c:pt>
                <c:pt idx="14">
                  <c:v>4049</c:v>
                </c:pt>
                <c:pt idx="15">
                  <c:v>4462</c:v>
                </c:pt>
                <c:pt idx="16">
                  <c:v>2667</c:v>
                </c:pt>
                <c:pt idx="17">
                  <c:v>1074</c:v>
                </c:pt>
                <c:pt idx="18">
                  <c:v>3572</c:v>
                </c:pt>
                <c:pt idx="19">
                  <c:v>5180</c:v>
                </c:pt>
                <c:pt idx="20">
                  <c:v>4561</c:v>
                </c:pt>
                <c:pt idx="21">
                  <c:v>4624</c:v>
                </c:pt>
                <c:pt idx="22">
                  <c:v>4747</c:v>
                </c:pt>
                <c:pt idx="23">
                  <c:v>3312</c:v>
                </c:pt>
                <c:pt idx="24">
                  <c:v>1112</c:v>
                </c:pt>
                <c:pt idx="25">
                  <c:v>4251</c:v>
                </c:pt>
                <c:pt idx="26">
                  <c:v>5855</c:v>
                </c:pt>
                <c:pt idx="27">
                  <c:v>6414</c:v>
                </c:pt>
                <c:pt idx="28">
                  <c:v>5872</c:v>
                </c:pt>
                <c:pt idx="29">
                  <c:v>6209</c:v>
                </c:pt>
                <c:pt idx="30">
                  <c:v>3655</c:v>
                </c:pt>
                <c:pt idx="31">
                  <c:v>1998</c:v>
                </c:pt>
                <c:pt idx="32">
                  <c:v>5176</c:v>
                </c:pt>
                <c:pt idx="33">
                  <c:v>7908</c:v>
                </c:pt>
                <c:pt idx="34">
                  <c:v>8256</c:v>
                </c:pt>
                <c:pt idx="35">
                  <c:v>7614</c:v>
                </c:pt>
                <c:pt idx="36">
                  <c:v>8836</c:v>
                </c:pt>
                <c:pt idx="37">
                  <c:v>5326</c:v>
                </c:pt>
                <c:pt idx="38">
                  <c:v>3401</c:v>
                </c:pt>
                <c:pt idx="39">
                  <c:v>7950</c:v>
                </c:pt>
                <c:pt idx="40">
                  <c:v>10910</c:v>
                </c:pt>
                <c:pt idx="41">
                  <c:v>14138</c:v>
                </c:pt>
                <c:pt idx="42">
                  <c:v>4373</c:v>
                </c:pt>
                <c:pt idx="43">
                  <c:v>2671</c:v>
                </c:pt>
                <c:pt idx="44">
                  <c:v>3031</c:v>
                </c:pt>
                <c:pt idx="45">
                  <c:v>3780</c:v>
                </c:pt>
                <c:pt idx="46">
                  <c:v>10935</c:v>
                </c:pt>
                <c:pt idx="47">
                  <c:v>16468</c:v>
                </c:pt>
                <c:pt idx="48">
                  <c:v>17059</c:v>
                </c:pt>
                <c:pt idx="49">
                  <c:v>13306</c:v>
                </c:pt>
                <c:pt idx="50">
                  <c:v>3446</c:v>
                </c:pt>
                <c:pt idx="51">
                  <c:v>4984</c:v>
                </c:pt>
                <c:pt idx="52">
                  <c:v>6267</c:v>
                </c:pt>
                <c:pt idx="53">
                  <c:v>12952</c:v>
                </c:pt>
                <c:pt idx="54">
                  <c:v>17397</c:v>
                </c:pt>
                <c:pt idx="55">
                  <c:v>17767</c:v>
                </c:pt>
                <c:pt idx="56">
                  <c:v>14880</c:v>
                </c:pt>
                <c:pt idx="57">
                  <c:v>13099</c:v>
                </c:pt>
                <c:pt idx="58">
                  <c:v>8436</c:v>
                </c:pt>
                <c:pt idx="59">
                  <c:v>4311</c:v>
                </c:pt>
                <c:pt idx="60">
                  <c:v>9383</c:v>
                </c:pt>
                <c:pt idx="61">
                  <c:v>10805</c:v>
                </c:pt>
                <c:pt idx="62">
                  <c:v>10914</c:v>
                </c:pt>
                <c:pt idx="63">
                  <c:v>8086</c:v>
                </c:pt>
                <c:pt idx="64">
                  <c:v>9299</c:v>
                </c:pt>
                <c:pt idx="65">
                  <c:v>5240</c:v>
                </c:pt>
                <c:pt idx="66">
                  <c:v>2641</c:v>
                </c:pt>
                <c:pt idx="67">
                  <c:v>7666</c:v>
                </c:pt>
                <c:pt idx="68">
                  <c:v>9608</c:v>
                </c:pt>
                <c:pt idx="69">
                  <c:v>8215</c:v>
                </c:pt>
                <c:pt idx="70">
                  <c:v>7532</c:v>
                </c:pt>
                <c:pt idx="71">
                  <c:v>8465</c:v>
                </c:pt>
                <c:pt idx="72">
                  <c:v>4239</c:v>
                </c:pt>
                <c:pt idx="73">
                  <c:v>2394</c:v>
                </c:pt>
                <c:pt idx="74">
                  <c:v>6973</c:v>
                </c:pt>
                <c:pt idx="75">
                  <c:v>9194</c:v>
                </c:pt>
                <c:pt idx="76">
                  <c:v>8502</c:v>
                </c:pt>
                <c:pt idx="77">
                  <c:v>8009</c:v>
                </c:pt>
                <c:pt idx="78">
                  <c:v>8052</c:v>
                </c:pt>
                <c:pt idx="79">
                  <c:v>4055</c:v>
                </c:pt>
                <c:pt idx="80">
                  <c:v>2573</c:v>
                </c:pt>
                <c:pt idx="81">
                  <c:v>7215</c:v>
                </c:pt>
                <c:pt idx="82">
                  <c:v>9148</c:v>
                </c:pt>
                <c:pt idx="83">
                  <c:v>9666</c:v>
                </c:pt>
                <c:pt idx="84">
                  <c:v>8106</c:v>
                </c:pt>
                <c:pt idx="85">
                  <c:v>8621</c:v>
                </c:pt>
                <c:pt idx="86">
                  <c:v>4820</c:v>
                </c:pt>
                <c:pt idx="87">
                  <c:v>2451</c:v>
                </c:pt>
                <c:pt idx="88">
                  <c:v>7779</c:v>
                </c:pt>
                <c:pt idx="89">
                  <c:v>10281</c:v>
                </c:pt>
                <c:pt idx="90">
                  <c:v>9536</c:v>
                </c:pt>
                <c:pt idx="91">
                  <c:v>9017</c:v>
                </c:pt>
                <c:pt idx="92">
                  <c:v>8827</c:v>
                </c:pt>
                <c:pt idx="93">
                  <c:v>5141</c:v>
                </c:pt>
                <c:pt idx="94">
                  <c:v>2879</c:v>
                </c:pt>
                <c:pt idx="95">
                  <c:v>8904</c:v>
                </c:pt>
                <c:pt idx="96">
                  <c:v>12608</c:v>
                </c:pt>
                <c:pt idx="97">
                  <c:v>10937</c:v>
                </c:pt>
                <c:pt idx="98">
                  <c:v>11701</c:v>
                </c:pt>
                <c:pt idx="99">
                  <c:v>11286</c:v>
                </c:pt>
                <c:pt idx="100">
                  <c:v>6775</c:v>
                </c:pt>
                <c:pt idx="101">
                  <c:v>4065</c:v>
                </c:pt>
                <c:pt idx="102">
                  <c:v>11403</c:v>
                </c:pt>
                <c:pt idx="103">
                  <c:v>15839</c:v>
                </c:pt>
                <c:pt idx="104">
                  <c:v>13794</c:v>
                </c:pt>
                <c:pt idx="105">
                  <c:v>14584</c:v>
                </c:pt>
                <c:pt idx="106">
                  <c:v>14773</c:v>
                </c:pt>
                <c:pt idx="107">
                  <c:v>7822</c:v>
                </c:pt>
                <c:pt idx="108">
                  <c:v>4587</c:v>
                </c:pt>
                <c:pt idx="109">
                  <c:v>12322</c:v>
                </c:pt>
                <c:pt idx="110">
                  <c:v>16771</c:v>
                </c:pt>
                <c:pt idx="111">
                  <c:v>15237</c:v>
                </c:pt>
                <c:pt idx="112">
                  <c:v>14640</c:v>
                </c:pt>
                <c:pt idx="113">
                  <c:v>13162</c:v>
                </c:pt>
                <c:pt idx="114">
                  <c:v>9118</c:v>
                </c:pt>
                <c:pt idx="115">
                  <c:v>3977</c:v>
                </c:pt>
                <c:pt idx="116">
                  <c:v>10618</c:v>
                </c:pt>
                <c:pt idx="117">
                  <c:v>15325</c:v>
                </c:pt>
                <c:pt idx="118">
                  <c:v>14353</c:v>
                </c:pt>
                <c:pt idx="119">
                  <c:v>110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D6-40BF-820C-488D15CC75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24901576"/>
        <c:axId val="524901968"/>
      </c:barChart>
      <c:dateAx>
        <c:axId val="52490157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4901968"/>
        <c:crosses val="autoZero"/>
        <c:auto val="1"/>
        <c:lblOffset val="100"/>
        <c:baseTimeUnit val="days"/>
        <c:majorUnit val="2"/>
        <c:majorTimeUnit val="days"/>
      </c:dateAx>
      <c:valAx>
        <c:axId val="524901968"/>
        <c:scaling>
          <c:orientation val="minMax"/>
          <c:max val="22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4901576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A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C81-45FE-8824-AD9CB6C393BE}"/>
              </c:ext>
            </c:extLst>
          </c:dPt>
          <c:dPt>
            <c:idx val="1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AFC3-45E8-A4BC-C21E08A96D50}"/>
              </c:ext>
            </c:extLst>
          </c:dPt>
          <c:dPt>
            <c:idx val="2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9E15-4CA5-9B49-4C7714C798F0}"/>
              </c:ext>
            </c:extLst>
          </c:dPt>
          <c:dPt>
            <c:idx val="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DF42-42E1-A531-D199F7D45743}"/>
              </c:ext>
            </c:extLst>
          </c:dPt>
          <c:dPt>
            <c:idx val="4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DF42-42E1-A531-D199F7D45743}"/>
              </c:ext>
            </c:extLst>
          </c:dPt>
          <c:dPt>
            <c:idx val="11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D336-4865-BC03-DE573BD35487}"/>
              </c:ext>
            </c:extLst>
          </c:dPt>
          <c:dPt>
            <c:idx val="12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F35-4802-BB5F-84462A7D224E}"/>
              </c:ext>
            </c:extLst>
          </c:dPt>
          <c:dPt>
            <c:idx val="1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9F35-4802-BB5F-84462A7D224E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List1!$A$2:$A$15</c:f>
              <c:numCache>
                <c:formatCode>#,##0.00</c:formatCode>
                <c:ptCount val="14"/>
                <c:pt idx="0">
                  <c:v>-7.5325702225000013E-2</c:v>
                </c:pt>
                <c:pt idx="1">
                  <c:v>-7.8754970527999957E-2</c:v>
                </c:pt>
                <c:pt idx="2">
                  <c:v>-0.10793307104400007</c:v>
                </c:pt>
                <c:pt idx="3">
                  <c:v>-0.17976748104500007</c:v>
                </c:pt>
                <c:pt idx="4">
                  <c:v>-0.21948965717800006</c:v>
                </c:pt>
                <c:pt idx="5">
                  <c:v>-0.22100054335800012</c:v>
                </c:pt>
                <c:pt idx="6">
                  <c:v>-0.223327587622</c:v>
                </c:pt>
                <c:pt idx="7">
                  <c:v>-0.22480251693700004</c:v>
                </c:pt>
                <c:pt idx="8">
                  <c:v>-0.22523234255900004</c:v>
                </c:pt>
                <c:pt idx="9">
                  <c:v>-0.22655608340599986</c:v>
                </c:pt>
                <c:pt idx="10">
                  <c:v>-0.25216226289999999</c:v>
                </c:pt>
                <c:pt idx="11">
                  <c:v>-0.28279560630200007</c:v>
                </c:pt>
                <c:pt idx="12">
                  <c:v>-0.29022957103300007</c:v>
                </c:pt>
                <c:pt idx="13">
                  <c:v>-0.3086310734709999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List1!#REF!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0-8C81-45FE-8824-AD9CB6C393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axId val="915368544"/>
        <c:axId val="915366976"/>
      </c:barChart>
      <c:catAx>
        <c:axId val="915368544"/>
        <c:scaling>
          <c:orientation val="maxMin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915366976"/>
        <c:crosses val="autoZero"/>
        <c:auto val="1"/>
        <c:lblAlgn val="ctr"/>
        <c:lblOffset val="100"/>
        <c:noMultiLvlLbl val="0"/>
      </c:catAx>
      <c:valAx>
        <c:axId val="915366976"/>
        <c:scaling>
          <c:orientation val="minMax"/>
          <c:max val="0.60000000000000009"/>
          <c:min val="-0.60000000000000009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15368544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A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CF6-4FDB-992C-C3301253469F}"/>
              </c:ext>
            </c:extLst>
          </c:dPt>
          <c:dPt>
            <c:idx val="1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CF6-4FDB-992C-C3301253469F}"/>
              </c:ext>
            </c:extLst>
          </c:dPt>
          <c:dPt>
            <c:idx val="2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0CF6-4FDB-992C-C3301253469F}"/>
              </c:ext>
            </c:extLst>
          </c:dPt>
          <c:dPt>
            <c:idx val="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EF1A-45EE-8389-4599263A8F34}"/>
              </c:ext>
            </c:extLst>
          </c:dPt>
          <c:dPt>
            <c:idx val="9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00E4-42DB-B765-5FDB77C5B34D}"/>
              </c:ext>
            </c:extLst>
          </c:dPt>
          <c:dPt>
            <c:idx val="10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649B-4EF6-A14E-2B76A4A0AD49}"/>
              </c:ext>
            </c:extLst>
          </c:dPt>
          <c:dPt>
            <c:idx val="11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DC0D-4B00-948F-86A7BDA4E7BC}"/>
              </c:ext>
            </c:extLst>
          </c:dPt>
          <c:dPt>
            <c:idx val="12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DC0D-4B00-948F-86A7BDA4E7BC}"/>
              </c:ext>
            </c:extLst>
          </c:dPt>
          <c:dPt>
            <c:idx val="1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2858-4185-8CA3-BBEE17E927E8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List1!$A$2:$A$15</c:f>
              <c:numCache>
                <c:formatCode>General</c:formatCode>
                <c:ptCount val="14"/>
                <c:pt idx="0">
                  <c:v>-6.8732488913999967E-2</c:v>
                </c:pt>
                <c:pt idx="1">
                  <c:v>-8.9108532661000162E-2</c:v>
                </c:pt>
                <c:pt idx="2">
                  <c:v>-9.429452764199997E-2</c:v>
                </c:pt>
                <c:pt idx="3">
                  <c:v>-9.8935392637000019E-2</c:v>
                </c:pt>
                <c:pt idx="4">
                  <c:v>-9.9137878362999921E-2</c:v>
                </c:pt>
                <c:pt idx="5">
                  <c:v>-0.119111979699</c:v>
                </c:pt>
                <c:pt idx="6">
                  <c:v>-0.12155373359299992</c:v>
                </c:pt>
                <c:pt idx="7">
                  <c:v>-0.12960457895900002</c:v>
                </c:pt>
                <c:pt idx="8">
                  <c:v>-0.13353502676099993</c:v>
                </c:pt>
                <c:pt idx="9">
                  <c:v>-0.14310891707499995</c:v>
                </c:pt>
                <c:pt idx="10">
                  <c:v>-0.14814808789600009</c:v>
                </c:pt>
                <c:pt idx="11">
                  <c:v>-0.15665150531299998</c:v>
                </c:pt>
                <c:pt idx="12">
                  <c:v>-0.17243253778800005</c:v>
                </c:pt>
                <c:pt idx="13">
                  <c:v>-0.20053499303899991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List1!#REF!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2-0CF6-4FDB-992C-C330125346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axId val="915368544"/>
        <c:axId val="915366976"/>
      </c:barChart>
      <c:catAx>
        <c:axId val="915368544"/>
        <c:scaling>
          <c:orientation val="maxMin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915366976"/>
        <c:crosses val="autoZero"/>
        <c:auto val="1"/>
        <c:lblAlgn val="ctr"/>
        <c:lblOffset val="100"/>
        <c:noMultiLvlLbl val="0"/>
      </c:catAx>
      <c:valAx>
        <c:axId val="915366976"/>
        <c:scaling>
          <c:orientation val="minMax"/>
          <c:max val="0.8"/>
          <c:min val="-0.8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15368544"/>
        <c:crosses val="autoZero"/>
        <c:crossBetween val="between"/>
        <c:majorUnit val="0.2"/>
        <c:minorUnit val="4.0000000000000008E-2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A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717-4C2D-B900-AE90B97A7EC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717-4C2D-B900-AE90B97A7ECF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717-4C2D-B900-AE90B97A7ECF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List1!$A$2:$A$15</c:f>
              <c:numCache>
                <c:formatCode>#,##0.00</c:formatCode>
                <c:ptCount val="14"/>
                <c:pt idx="0">
                  <c:v>1.0965861781840001</c:v>
                </c:pt>
                <c:pt idx="1">
                  <c:v>1.0728218465529999</c:v>
                </c:pt>
                <c:pt idx="2">
                  <c:v>1.069812415393</c:v>
                </c:pt>
                <c:pt idx="3">
                  <c:v>1.0522325189549999</c:v>
                </c:pt>
                <c:pt idx="4">
                  <c:v>1.021712073018</c:v>
                </c:pt>
                <c:pt idx="5">
                  <c:v>0.97090170867799996</c:v>
                </c:pt>
                <c:pt idx="6">
                  <c:v>0.95740177272100002</c:v>
                </c:pt>
                <c:pt idx="7">
                  <c:v>0.95574361820099996</c:v>
                </c:pt>
                <c:pt idx="8">
                  <c:v>0.94656488549600004</c:v>
                </c:pt>
                <c:pt idx="9">
                  <c:v>0.93046165732999997</c:v>
                </c:pt>
                <c:pt idx="10">
                  <c:v>0.92500704820900004</c:v>
                </c:pt>
                <c:pt idx="11">
                  <c:v>0.92065997130499999</c:v>
                </c:pt>
                <c:pt idx="12">
                  <c:v>0.83656036446399995</c:v>
                </c:pt>
                <c:pt idx="13">
                  <c:v>0.75360474978699998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List1!#REF!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6-3717-4C2D-B900-AE90B97A7E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axId val="915368544"/>
        <c:axId val="915366976"/>
      </c:barChart>
      <c:catAx>
        <c:axId val="915368544"/>
        <c:scaling>
          <c:orientation val="maxMin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915366976"/>
        <c:crosses val="autoZero"/>
        <c:auto val="1"/>
        <c:lblAlgn val="ctr"/>
        <c:lblOffset val="100"/>
        <c:noMultiLvlLbl val="0"/>
      </c:catAx>
      <c:valAx>
        <c:axId val="915366976"/>
        <c:scaling>
          <c:orientation val="minMax"/>
          <c:max val="1.6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15368544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272939841005517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 pozitivních</c:v>
                </c:pt>
              </c:strCache>
            </c:strRef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33:$A$192</c:f>
              <c:numCache>
                <c:formatCode>m/d/yyyy</c:formatCode>
                <c:ptCount val="160"/>
                <c:pt idx="0">
                  <c:v>44106</c:v>
                </c:pt>
                <c:pt idx="1">
                  <c:v>44107</c:v>
                </c:pt>
                <c:pt idx="2">
                  <c:v>44108</c:v>
                </c:pt>
                <c:pt idx="3">
                  <c:v>44109</c:v>
                </c:pt>
                <c:pt idx="4">
                  <c:v>44110</c:v>
                </c:pt>
                <c:pt idx="5">
                  <c:v>44111</c:v>
                </c:pt>
                <c:pt idx="6">
                  <c:v>44112</c:v>
                </c:pt>
                <c:pt idx="7">
                  <c:v>44113</c:v>
                </c:pt>
                <c:pt idx="8">
                  <c:v>44114</c:v>
                </c:pt>
                <c:pt idx="9">
                  <c:v>44115</c:v>
                </c:pt>
                <c:pt idx="10">
                  <c:v>44116</c:v>
                </c:pt>
                <c:pt idx="11">
                  <c:v>44117</c:v>
                </c:pt>
                <c:pt idx="12">
                  <c:v>44118</c:v>
                </c:pt>
                <c:pt idx="13">
                  <c:v>44119</c:v>
                </c:pt>
                <c:pt idx="14">
                  <c:v>44120</c:v>
                </c:pt>
                <c:pt idx="15">
                  <c:v>44121</c:v>
                </c:pt>
                <c:pt idx="16">
                  <c:v>44122</c:v>
                </c:pt>
                <c:pt idx="17">
                  <c:v>44123</c:v>
                </c:pt>
                <c:pt idx="18">
                  <c:v>44124</c:v>
                </c:pt>
                <c:pt idx="19">
                  <c:v>44125</c:v>
                </c:pt>
                <c:pt idx="20">
                  <c:v>44126</c:v>
                </c:pt>
                <c:pt idx="21">
                  <c:v>44127</c:v>
                </c:pt>
                <c:pt idx="22">
                  <c:v>44128</c:v>
                </c:pt>
                <c:pt idx="23">
                  <c:v>44129</c:v>
                </c:pt>
                <c:pt idx="24">
                  <c:v>44130</c:v>
                </c:pt>
                <c:pt idx="25">
                  <c:v>44131</c:v>
                </c:pt>
                <c:pt idx="26">
                  <c:v>44132</c:v>
                </c:pt>
                <c:pt idx="27">
                  <c:v>44133</c:v>
                </c:pt>
                <c:pt idx="28">
                  <c:v>44134</c:v>
                </c:pt>
                <c:pt idx="29">
                  <c:v>44135</c:v>
                </c:pt>
                <c:pt idx="30">
                  <c:v>44136</c:v>
                </c:pt>
                <c:pt idx="31">
                  <c:v>44137</c:v>
                </c:pt>
                <c:pt idx="32">
                  <c:v>44138</c:v>
                </c:pt>
                <c:pt idx="33">
                  <c:v>44139</c:v>
                </c:pt>
                <c:pt idx="34">
                  <c:v>44140</c:v>
                </c:pt>
                <c:pt idx="35">
                  <c:v>44141</c:v>
                </c:pt>
                <c:pt idx="36">
                  <c:v>44142</c:v>
                </c:pt>
                <c:pt idx="37">
                  <c:v>44143</c:v>
                </c:pt>
                <c:pt idx="38">
                  <c:v>44144</c:v>
                </c:pt>
                <c:pt idx="39">
                  <c:v>44145</c:v>
                </c:pt>
                <c:pt idx="40">
                  <c:v>44146</c:v>
                </c:pt>
                <c:pt idx="41">
                  <c:v>44147</c:v>
                </c:pt>
                <c:pt idx="42">
                  <c:v>44148</c:v>
                </c:pt>
                <c:pt idx="43">
                  <c:v>44149</c:v>
                </c:pt>
                <c:pt idx="44">
                  <c:v>44150</c:v>
                </c:pt>
                <c:pt idx="45">
                  <c:v>44151</c:v>
                </c:pt>
                <c:pt idx="46">
                  <c:v>44152</c:v>
                </c:pt>
                <c:pt idx="47">
                  <c:v>44153</c:v>
                </c:pt>
                <c:pt idx="48">
                  <c:v>44154</c:v>
                </c:pt>
                <c:pt idx="49">
                  <c:v>44155</c:v>
                </c:pt>
                <c:pt idx="50">
                  <c:v>44156</c:v>
                </c:pt>
                <c:pt idx="51">
                  <c:v>44157</c:v>
                </c:pt>
                <c:pt idx="52">
                  <c:v>44158</c:v>
                </c:pt>
                <c:pt idx="53">
                  <c:v>44159</c:v>
                </c:pt>
                <c:pt idx="54">
                  <c:v>44160</c:v>
                </c:pt>
                <c:pt idx="55">
                  <c:v>44161</c:v>
                </c:pt>
                <c:pt idx="56">
                  <c:v>44162</c:v>
                </c:pt>
                <c:pt idx="57">
                  <c:v>44163</c:v>
                </c:pt>
                <c:pt idx="58">
                  <c:v>44164</c:v>
                </c:pt>
                <c:pt idx="59">
                  <c:v>44165</c:v>
                </c:pt>
                <c:pt idx="60">
                  <c:v>44166</c:v>
                </c:pt>
                <c:pt idx="61">
                  <c:v>44167</c:v>
                </c:pt>
                <c:pt idx="62">
                  <c:v>44168</c:v>
                </c:pt>
                <c:pt idx="63">
                  <c:v>44169</c:v>
                </c:pt>
                <c:pt idx="64">
                  <c:v>44170</c:v>
                </c:pt>
                <c:pt idx="65">
                  <c:v>44171</c:v>
                </c:pt>
                <c:pt idx="66">
                  <c:v>44172</c:v>
                </c:pt>
                <c:pt idx="67">
                  <c:v>44173</c:v>
                </c:pt>
                <c:pt idx="68">
                  <c:v>44174</c:v>
                </c:pt>
                <c:pt idx="69">
                  <c:v>44175</c:v>
                </c:pt>
                <c:pt idx="70">
                  <c:v>44176</c:v>
                </c:pt>
                <c:pt idx="71">
                  <c:v>44177</c:v>
                </c:pt>
                <c:pt idx="72">
                  <c:v>44178</c:v>
                </c:pt>
                <c:pt idx="73">
                  <c:v>44179</c:v>
                </c:pt>
                <c:pt idx="74">
                  <c:v>44180</c:v>
                </c:pt>
                <c:pt idx="75">
                  <c:v>44181</c:v>
                </c:pt>
                <c:pt idx="76">
                  <c:v>44182</c:v>
                </c:pt>
                <c:pt idx="77">
                  <c:v>44183</c:v>
                </c:pt>
                <c:pt idx="78">
                  <c:v>44184</c:v>
                </c:pt>
                <c:pt idx="79">
                  <c:v>44185</c:v>
                </c:pt>
                <c:pt idx="80">
                  <c:v>44186</c:v>
                </c:pt>
                <c:pt idx="81">
                  <c:v>44187</c:v>
                </c:pt>
                <c:pt idx="82">
                  <c:v>44188</c:v>
                </c:pt>
                <c:pt idx="83">
                  <c:v>44189</c:v>
                </c:pt>
                <c:pt idx="84">
                  <c:v>44190</c:v>
                </c:pt>
                <c:pt idx="85">
                  <c:v>44191</c:v>
                </c:pt>
                <c:pt idx="86">
                  <c:v>44192</c:v>
                </c:pt>
                <c:pt idx="87">
                  <c:v>44193</c:v>
                </c:pt>
                <c:pt idx="88">
                  <c:v>44194</c:v>
                </c:pt>
                <c:pt idx="89">
                  <c:v>44195</c:v>
                </c:pt>
                <c:pt idx="90">
                  <c:v>44196</c:v>
                </c:pt>
                <c:pt idx="91">
                  <c:v>44197</c:v>
                </c:pt>
                <c:pt idx="92">
                  <c:v>44198</c:v>
                </c:pt>
                <c:pt idx="93">
                  <c:v>44199</c:v>
                </c:pt>
                <c:pt idx="94">
                  <c:v>44200</c:v>
                </c:pt>
                <c:pt idx="95">
                  <c:v>44201</c:v>
                </c:pt>
                <c:pt idx="96">
                  <c:v>44202</c:v>
                </c:pt>
                <c:pt idx="97">
                  <c:v>44203</c:v>
                </c:pt>
                <c:pt idx="98">
                  <c:v>44204</c:v>
                </c:pt>
                <c:pt idx="99">
                  <c:v>44205</c:v>
                </c:pt>
                <c:pt idx="100">
                  <c:v>44206</c:v>
                </c:pt>
                <c:pt idx="101">
                  <c:v>44207</c:v>
                </c:pt>
                <c:pt idx="102">
                  <c:v>44208</c:v>
                </c:pt>
                <c:pt idx="103">
                  <c:v>44209</c:v>
                </c:pt>
                <c:pt idx="104">
                  <c:v>44210</c:v>
                </c:pt>
                <c:pt idx="105">
                  <c:v>44211</c:v>
                </c:pt>
                <c:pt idx="106">
                  <c:v>44212</c:v>
                </c:pt>
                <c:pt idx="107">
                  <c:v>44213</c:v>
                </c:pt>
                <c:pt idx="108">
                  <c:v>44214</c:v>
                </c:pt>
                <c:pt idx="109">
                  <c:v>44215</c:v>
                </c:pt>
                <c:pt idx="110">
                  <c:v>44216</c:v>
                </c:pt>
                <c:pt idx="111">
                  <c:v>44217</c:v>
                </c:pt>
                <c:pt idx="112">
                  <c:v>44218</c:v>
                </c:pt>
                <c:pt idx="113">
                  <c:v>44219</c:v>
                </c:pt>
                <c:pt idx="114">
                  <c:v>44220</c:v>
                </c:pt>
                <c:pt idx="115">
                  <c:v>44221</c:v>
                </c:pt>
                <c:pt idx="116">
                  <c:v>44222</c:v>
                </c:pt>
                <c:pt idx="117">
                  <c:v>44223</c:v>
                </c:pt>
                <c:pt idx="118">
                  <c:v>44224</c:v>
                </c:pt>
                <c:pt idx="119">
                  <c:v>44225</c:v>
                </c:pt>
                <c:pt idx="120">
                  <c:v>44226</c:v>
                </c:pt>
                <c:pt idx="121">
                  <c:v>44227</c:v>
                </c:pt>
                <c:pt idx="122">
                  <c:v>44228</c:v>
                </c:pt>
                <c:pt idx="123">
                  <c:v>44229</c:v>
                </c:pt>
                <c:pt idx="124">
                  <c:v>44230</c:v>
                </c:pt>
                <c:pt idx="125">
                  <c:v>44231</c:v>
                </c:pt>
                <c:pt idx="126">
                  <c:v>44232</c:v>
                </c:pt>
                <c:pt idx="127">
                  <c:v>44233</c:v>
                </c:pt>
                <c:pt idx="128">
                  <c:v>44234</c:v>
                </c:pt>
                <c:pt idx="129">
                  <c:v>44235</c:v>
                </c:pt>
                <c:pt idx="130">
                  <c:v>44236</c:v>
                </c:pt>
                <c:pt idx="131">
                  <c:v>44237</c:v>
                </c:pt>
                <c:pt idx="132">
                  <c:v>44238</c:v>
                </c:pt>
                <c:pt idx="133">
                  <c:v>44239</c:v>
                </c:pt>
                <c:pt idx="134">
                  <c:v>44240</c:v>
                </c:pt>
                <c:pt idx="135">
                  <c:v>44241</c:v>
                </c:pt>
                <c:pt idx="136">
                  <c:v>44242</c:v>
                </c:pt>
                <c:pt idx="137">
                  <c:v>44243</c:v>
                </c:pt>
                <c:pt idx="138">
                  <c:v>44244</c:v>
                </c:pt>
                <c:pt idx="139">
                  <c:v>44245</c:v>
                </c:pt>
                <c:pt idx="140">
                  <c:v>44246</c:v>
                </c:pt>
                <c:pt idx="141">
                  <c:v>44247</c:v>
                </c:pt>
                <c:pt idx="142">
                  <c:v>44248</c:v>
                </c:pt>
                <c:pt idx="143">
                  <c:v>44249</c:v>
                </c:pt>
                <c:pt idx="144">
                  <c:v>44250</c:v>
                </c:pt>
                <c:pt idx="145">
                  <c:v>44251</c:v>
                </c:pt>
                <c:pt idx="146">
                  <c:v>44252</c:v>
                </c:pt>
                <c:pt idx="147">
                  <c:v>44253</c:v>
                </c:pt>
                <c:pt idx="148">
                  <c:v>44254</c:v>
                </c:pt>
                <c:pt idx="149">
                  <c:v>44255</c:v>
                </c:pt>
                <c:pt idx="150">
                  <c:v>44256</c:v>
                </c:pt>
                <c:pt idx="151">
                  <c:v>44257</c:v>
                </c:pt>
                <c:pt idx="152">
                  <c:v>44258</c:v>
                </c:pt>
                <c:pt idx="153">
                  <c:v>44259</c:v>
                </c:pt>
                <c:pt idx="154">
                  <c:v>44260</c:v>
                </c:pt>
                <c:pt idx="155">
                  <c:v>44261</c:v>
                </c:pt>
                <c:pt idx="156">
                  <c:v>44262</c:v>
                </c:pt>
                <c:pt idx="157">
                  <c:v>44263</c:v>
                </c:pt>
                <c:pt idx="158">
                  <c:v>44264</c:v>
                </c:pt>
                <c:pt idx="159">
                  <c:v>44265</c:v>
                </c:pt>
              </c:numCache>
            </c:numRef>
          </c:cat>
          <c:val>
            <c:numRef>
              <c:f>Sheet1!$B$33:$B$192</c:f>
              <c:numCache>
                <c:formatCode>General</c:formatCode>
                <c:ptCount val="160"/>
                <c:pt idx="0">
                  <c:v>0.20353589999999999</c:v>
                </c:pt>
                <c:pt idx="1">
                  <c:v>0.21389469999999999</c:v>
                </c:pt>
                <c:pt idx="2">
                  <c:v>0.25369770000000003</c:v>
                </c:pt>
                <c:pt idx="3">
                  <c:v>0.23486190000000001</c:v>
                </c:pt>
                <c:pt idx="4">
                  <c:v>0.2325999</c:v>
                </c:pt>
                <c:pt idx="5">
                  <c:v>0.26714949999999998</c:v>
                </c:pt>
                <c:pt idx="6">
                  <c:v>0.27634639999999999</c:v>
                </c:pt>
                <c:pt idx="7">
                  <c:v>0.38326199999999999</c:v>
                </c:pt>
                <c:pt idx="8">
                  <c:v>0.31661790000000001</c:v>
                </c:pt>
                <c:pt idx="9">
                  <c:v>0.32976149999999999</c:v>
                </c:pt>
                <c:pt idx="10">
                  <c:v>0.25010900000000003</c:v>
                </c:pt>
                <c:pt idx="11">
                  <c:v>0.31773669999999998</c:v>
                </c:pt>
                <c:pt idx="12">
                  <c:v>0.33700600000000003</c:v>
                </c:pt>
                <c:pt idx="13">
                  <c:v>0.34091759999999999</c:v>
                </c:pt>
                <c:pt idx="14">
                  <c:v>0.34459580000000001</c:v>
                </c:pt>
                <c:pt idx="15">
                  <c:v>0.35185080000000002</c:v>
                </c:pt>
                <c:pt idx="16">
                  <c:v>0.36088009999999998</c:v>
                </c:pt>
                <c:pt idx="17">
                  <c:v>0.33825129999999998</c:v>
                </c:pt>
                <c:pt idx="18">
                  <c:v>0.35345409999999999</c:v>
                </c:pt>
                <c:pt idx="19">
                  <c:v>0.39301710000000001</c:v>
                </c:pt>
                <c:pt idx="20">
                  <c:v>0.37731130000000002</c:v>
                </c:pt>
                <c:pt idx="21">
                  <c:v>0.39051900000000001</c:v>
                </c:pt>
                <c:pt idx="22">
                  <c:v>0.37093359999999997</c:v>
                </c:pt>
                <c:pt idx="23">
                  <c:v>0.39876650000000002</c:v>
                </c:pt>
                <c:pt idx="24">
                  <c:v>0.35193590000000002</c:v>
                </c:pt>
                <c:pt idx="25">
                  <c:v>0.37181900000000001</c:v>
                </c:pt>
                <c:pt idx="26">
                  <c:v>0.38242900000000002</c:v>
                </c:pt>
                <c:pt idx="27">
                  <c:v>0.36285329999999999</c:v>
                </c:pt>
                <c:pt idx="28">
                  <c:v>0.33480670000000001</c:v>
                </c:pt>
                <c:pt idx="29">
                  <c:v>0.37123679999999998</c:v>
                </c:pt>
                <c:pt idx="30">
                  <c:v>0.37721559999999998</c:v>
                </c:pt>
                <c:pt idx="31">
                  <c:v>0.36218479999999997</c:v>
                </c:pt>
                <c:pt idx="32">
                  <c:v>0.33734380000000003</c:v>
                </c:pt>
                <c:pt idx="33">
                  <c:v>0.40356219999999998</c:v>
                </c:pt>
                <c:pt idx="34">
                  <c:v>0.37094759999999999</c:v>
                </c:pt>
                <c:pt idx="35">
                  <c:v>0.33448070000000002</c:v>
                </c:pt>
                <c:pt idx="36">
                  <c:v>0.34884799999999999</c:v>
                </c:pt>
                <c:pt idx="37">
                  <c:v>0.31514059999999999</c:v>
                </c:pt>
                <c:pt idx="38">
                  <c:v>0.2493437</c:v>
                </c:pt>
                <c:pt idx="39">
                  <c:v>0.29516369999999997</c:v>
                </c:pt>
                <c:pt idx="40">
                  <c:v>0.3209515</c:v>
                </c:pt>
                <c:pt idx="41">
                  <c:v>0.3156214</c:v>
                </c:pt>
                <c:pt idx="42">
                  <c:v>0.27883390000000002</c:v>
                </c:pt>
                <c:pt idx="43">
                  <c:v>0.31559880000000001</c:v>
                </c:pt>
                <c:pt idx="44">
                  <c:v>0.2749064</c:v>
                </c:pt>
                <c:pt idx="45">
                  <c:v>0.25475229999999999</c:v>
                </c:pt>
                <c:pt idx="46">
                  <c:v>0.30192259999999999</c:v>
                </c:pt>
                <c:pt idx="47">
                  <c:v>0.27021440000000002</c:v>
                </c:pt>
                <c:pt idx="48">
                  <c:v>0.29813580000000001</c:v>
                </c:pt>
                <c:pt idx="49">
                  <c:v>0.26585540000000002</c:v>
                </c:pt>
                <c:pt idx="50">
                  <c:v>0.27246809999999999</c:v>
                </c:pt>
                <c:pt idx="51">
                  <c:v>0.2572699</c:v>
                </c:pt>
                <c:pt idx="52">
                  <c:v>0.22958110000000001</c:v>
                </c:pt>
                <c:pt idx="53">
                  <c:v>0.28899320000000001</c:v>
                </c:pt>
                <c:pt idx="54">
                  <c:v>0.2647311</c:v>
                </c:pt>
                <c:pt idx="55">
                  <c:v>0.25901410000000002</c:v>
                </c:pt>
                <c:pt idx="56">
                  <c:v>0.24120739999999999</c:v>
                </c:pt>
                <c:pt idx="57">
                  <c:v>0.26021850000000002</c:v>
                </c:pt>
                <c:pt idx="58">
                  <c:v>0.20937620000000001</c:v>
                </c:pt>
                <c:pt idx="59">
                  <c:v>0.21144379999999999</c:v>
                </c:pt>
                <c:pt idx="60">
                  <c:v>0.28529510000000002</c:v>
                </c:pt>
                <c:pt idx="61">
                  <c:v>0.2479558</c:v>
                </c:pt>
                <c:pt idx="62">
                  <c:v>0.27567570000000002</c:v>
                </c:pt>
                <c:pt idx="63">
                  <c:v>0.273783</c:v>
                </c:pt>
                <c:pt idx="64">
                  <c:v>0.31493979999999999</c:v>
                </c:pt>
                <c:pt idx="65">
                  <c:v>0.21308769999999999</c:v>
                </c:pt>
                <c:pt idx="66">
                  <c:v>0.2266618</c:v>
                </c:pt>
                <c:pt idx="67">
                  <c:v>0.28035539999999998</c:v>
                </c:pt>
                <c:pt idx="68">
                  <c:v>0.30664649999999999</c:v>
                </c:pt>
                <c:pt idx="69">
                  <c:v>0.28145629999999999</c:v>
                </c:pt>
                <c:pt idx="70">
                  <c:v>0.26833859999999998</c:v>
                </c:pt>
                <c:pt idx="71">
                  <c:v>0.29261199999999998</c:v>
                </c:pt>
                <c:pt idx="72">
                  <c:v>0.29566500000000001</c:v>
                </c:pt>
                <c:pt idx="73">
                  <c:v>0.2440783</c:v>
                </c:pt>
                <c:pt idx="74">
                  <c:v>0.30386049999999998</c:v>
                </c:pt>
                <c:pt idx="75">
                  <c:v>0.31204009999999999</c:v>
                </c:pt>
                <c:pt idx="76">
                  <c:v>0.29660880000000001</c:v>
                </c:pt>
                <c:pt idx="77">
                  <c:v>0.3216659</c:v>
                </c:pt>
                <c:pt idx="78">
                  <c:v>0.2993169</c:v>
                </c:pt>
                <c:pt idx="79">
                  <c:v>0.36973800000000001</c:v>
                </c:pt>
                <c:pt idx="80">
                  <c:v>0.29875570000000001</c:v>
                </c:pt>
                <c:pt idx="81">
                  <c:v>0.33580389999999999</c:v>
                </c:pt>
                <c:pt idx="82">
                  <c:v>0.38651970000000002</c:v>
                </c:pt>
                <c:pt idx="83">
                  <c:v>0.42359289999999999</c:v>
                </c:pt>
                <c:pt idx="84">
                  <c:v>0.3769981</c:v>
                </c:pt>
                <c:pt idx="85">
                  <c:v>0.40229890000000001</c:v>
                </c:pt>
                <c:pt idx="86">
                  <c:v>0.37445210000000001</c:v>
                </c:pt>
                <c:pt idx="87">
                  <c:v>0.42338150000000002</c:v>
                </c:pt>
                <c:pt idx="88">
                  <c:v>0.49678440000000001</c:v>
                </c:pt>
                <c:pt idx="89">
                  <c:v>0.50012129999999999</c:v>
                </c:pt>
                <c:pt idx="90">
                  <c:v>0.5103396</c:v>
                </c:pt>
                <c:pt idx="91">
                  <c:v>0.50785230000000003</c:v>
                </c:pt>
                <c:pt idx="92">
                  <c:v>0.43419479999999999</c:v>
                </c:pt>
                <c:pt idx="93">
                  <c:v>0.46661340000000001</c:v>
                </c:pt>
                <c:pt idx="94">
                  <c:v>0.39460200000000001</c:v>
                </c:pt>
                <c:pt idx="95">
                  <c:v>0.4344035</c:v>
                </c:pt>
                <c:pt idx="96">
                  <c:v>0.490701</c:v>
                </c:pt>
                <c:pt idx="97">
                  <c:v>0.41571839999999999</c:v>
                </c:pt>
                <c:pt idx="98">
                  <c:v>0.37263309999999999</c:v>
                </c:pt>
                <c:pt idx="99">
                  <c:v>0.45518789999999998</c:v>
                </c:pt>
                <c:pt idx="100">
                  <c:v>0.4066092</c:v>
                </c:pt>
                <c:pt idx="101">
                  <c:v>0.29903659999999999</c:v>
                </c:pt>
                <c:pt idx="102">
                  <c:v>0.3226658</c:v>
                </c:pt>
                <c:pt idx="103">
                  <c:v>0.35728650000000001</c:v>
                </c:pt>
                <c:pt idx="104">
                  <c:v>0.28970679999999999</c:v>
                </c:pt>
                <c:pt idx="105">
                  <c:v>0.32133309999999998</c:v>
                </c:pt>
                <c:pt idx="106">
                  <c:v>0.33385110000000001</c:v>
                </c:pt>
                <c:pt idx="107">
                  <c:v>0.34582829999999998</c:v>
                </c:pt>
                <c:pt idx="108">
                  <c:v>0.29060589999999997</c:v>
                </c:pt>
                <c:pt idx="109">
                  <c:v>0.34626390000000001</c:v>
                </c:pt>
                <c:pt idx="110">
                  <c:v>0.32066</c:v>
                </c:pt>
                <c:pt idx="111">
                  <c:v>0.3488832</c:v>
                </c:pt>
                <c:pt idx="112">
                  <c:v>0.30616939999999998</c:v>
                </c:pt>
                <c:pt idx="113">
                  <c:v>0.3379451</c:v>
                </c:pt>
                <c:pt idx="114">
                  <c:v>0.33362540000000002</c:v>
                </c:pt>
                <c:pt idx="115">
                  <c:v>0.27936359999999999</c:v>
                </c:pt>
                <c:pt idx="116">
                  <c:v>0.34097329999999998</c:v>
                </c:pt>
                <c:pt idx="117">
                  <c:v>0.31033749999999999</c:v>
                </c:pt>
                <c:pt idx="118">
                  <c:v>0.33597440000000001</c:v>
                </c:pt>
                <c:pt idx="119">
                  <c:v>0.29203590000000001</c:v>
                </c:pt>
                <c:pt idx="120">
                  <c:v>0.32680209999999998</c:v>
                </c:pt>
                <c:pt idx="121">
                  <c:v>0.38357790000000003</c:v>
                </c:pt>
                <c:pt idx="122">
                  <c:v>0.29348279999999999</c:v>
                </c:pt>
                <c:pt idx="123">
                  <c:v>0.33224809999999999</c:v>
                </c:pt>
                <c:pt idx="124">
                  <c:v>0.34602850000000002</c:v>
                </c:pt>
                <c:pt idx="125">
                  <c:v>0.31926860000000001</c:v>
                </c:pt>
                <c:pt idx="126">
                  <c:v>0.31646790000000002</c:v>
                </c:pt>
                <c:pt idx="127">
                  <c:v>0.3687009</c:v>
                </c:pt>
                <c:pt idx="128">
                  <c:v>0.35617070000000001</c:v>
                </c:pt>
                <c:pt idx="129">
                  <c:v>0.32829999999999998</c:v>
                </c:pt>
                <c:pt idx="130">
                  <c:v>0.36655900000000002</c:v>
                </c:pt>
                <c:pt idx="131">
                  <c:v>0.3522383</c:v>
                </c:pt>
                <c:pt idx="132">
                  <c:v>0.34565859999999998</c:v>
                </c:pt>
                <c:pt idx="133">
                  <c:v>0.3178704</c:v>
                </c:pt>
                <c:pt idx="134">
                  <c:v>0.34070430000000002</c:v>
                </c:pt>
                <c:pt idx="135">
                  <c:v>0.38101689999999999</c:v>
                </c:pt>
                <c:pt idx="136">
                  <c:v>0.33194859999999998</c:v>
                </c:pt>
                <c:pt idx="137">
                  <c:v>0.4024142</c:v>
                </c:pt>
                <c:pt idx="138">
                  <c:v>0.36827330000000003</c:v>
                </c:pt>
                <c:pt idx="139">
                  <c:v>0.37296869999999999</c:v>
                </c:pt>
                <c:pt idx="140">
                  <c:v>0.32868180000000002</c:v>
                </c:pt>
                <c:pt idx="141">
                  <c:v>0.39735890000000001</c:v>
                </c:pt>
                <c:pt idx="142">
                  <c:v>0.47066720000000001</c:v>
                </c:pt>
                <c:pt idx="143">
                  <c:v>0.35830990000000001</c:v>
                </c:pt>
                <c:pt idx="144">
                  <c:v>0.41937449999999998</c:v>
                </c:pt>
                <c:pt idx="145">
                  <c:v>0.38210139999999998</c:v>
                </c:pt>
                <c:pt idx="146">
                  <c:v>0.39214379999999999</c:v>
                </c:pt>
                <c:pt idx="147">
                  <c:v>0.36405969999999999</c:v>
                </c:pt>
                <c:pt idx="148" formatCode="0.0%">
                  <c:v>0.36238569999999998</c:v>
                </c:pt>
                <c:pt idx="149" formatCode="0.0%">
                  <c:v>0.39975490000000002</c:v>
                </c:pt>
                <c:pt idx="150" formatCode="0.0%">
                  <c:v>0.35836249999999997</c:v>
                </c:pt>
                <c:pt idx="151" formatCode="0.0%">
                  <c:v>0.39765309999999998</c:v>
                </c:pt>
                <c:pt idx="152" formatCode="0.0%">
                  <c:v>0.39403779999999999</c:v>
                </c:pt>
                <c:pt idx="153" formatCode="0.0%">
                  <c:v>0.39080100000000001</c:v>
                </c:pt>
                <c:pt idx="154" formatCode="0.0%">
                  <c:v>0.3250729</c:v>
                </c:pt>
                <c:pt idx="155" formatCode="0.0%">
                  <c:v>0.46107310000000001</c:v>
                </c:pt>
                <c:pt idx="156" formatCode="0.0%">
                  <c:v>0.37853290000000001</c:v>
                </c:pt>
                <c:pt idx="157" formatCode="0.0%">
                  <c:v>0.3341829</c:v>
                </c:pt>
                <c:pt idx="158" formatCode="0.0%">
                  <c:v>0.39547840000000001</c:v>
                </c:pt>
                <c:pt idx="159" formatCode="0.0%">
                  <c:v>0.4730089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  <c:majorTimeUnit val="days"/>
      </c:dateAx>
      <c:valAx>
        <c:axId val="414859336"/>
        <c:scaling>
          <c:orientation val="minMax"/>
          <c:max val="0.70000000000000007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A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CF6-4FDB-992C-C3301253469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CF6-4FDB-992C-C3301253469F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0CF6-4FDB-992C-C3301253469F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79D9-47D6-8A8A-FE81D4B3A35D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79D9-47D6-8A8A-FE81D4B3A35D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79D9-47D6-8A8A-FE81D4B3A35D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1350-49EF-BDD6-68ACED723728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1350-49EF-BDD6-68ACED723728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1350-49EF-BDD6-68ACED723728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82B3-487A-A200-D8FF409C8DBD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5F5E-4AF0-8255-A4C2A217585D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F5E-4AF0-8255-A4C2A217585D}"/>
              </c:ext>
            </c:extLst>
          </c:dPt>
          <c:dPt>
            <c:idx val="12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F5E-4AF0-8255-A4C2A217585D}"/>
              </c:ext>
            </c:extLst>
          </c:dPt>
          <c:dPt>
            <c:idx val="1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5F5E-4AF0-8255-A4C2A217585D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List1!$A$2:$A$15</c:f>
              <c:numCache>
                <c:formatCode>General</c:formatCode>
                <c:ptCount val="14"/>
                <c:pt idx="0">
                  <c:v>336.91309970919906</c:v>
                </c:pt>
                <c:pt idx="1">
                  <c:v>314.63409137010058</c:v>
                </c:pt>
                <c:pt idx="2">
                  <c:v>283.14806940232074</c:v>
                </c:pt>
                <c:pt idx="3">
                  <c:v>277.9655649144604</c:v>
                </c:pt>
                <c:pt idx="4">
                  <c:v>271.47208878549577</c:v>
                </c:pt>
                <c:pt idx="5">
                  <c:v>211.15966674189099</c:v>
                </c:pt>
                <c:pt idx="6">
                  <c:v>202.97868195249157</c:v>
                </c:pt>
                <c:pt idx="7">
                  <c:v>194.19816248359348</c:v>
                </c:pt>
                <c:pt idx="8">
                  <c:v>187.81199813295586</c:v>
                </c:pt>
                <c:pt idx="9">
                  <c:v>163.58732596597065</c:v>
                </c:pt>
                <c:pt idx="10">
                  <c:v>148.31217653268789</c:v>
                </c:pt>
                <c:pt idx="11">
                  <c:v>130.5247059862279</c:v>
                </c:pt>
                <c:pt idx="12">
                  <c:v>-83.02410780807304</c:v>
                </c:pt>
                <c:pt idx="13">
                  <c:v>-325.1160643987732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List1!#REF!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2-0CF6-4FDB-992C-C330125346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axId val="915368544"/>
        <c:axId val="915366976"/>
      </c:barChart>
      <c:catAx>
        <c:axId val="915368544"/>
        <c:scaling>
          <c:orientation val="maxMin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915366976"/>
        <c:crosses val="autoZero"/>
        <c:auto val="1"/>
        <c:lblAlgn val="ctr"/>
        <c:lblOffset val="100"/>
        <c:noMultiLvlLbl val="0"/>
      </c:catAx>
      <c:valAx>
        <c:axId val="915366976"/>
        <c:scaling>
          <c:orientation val="minMax"/>
          <c:max val="800"/>
          <c:min val="-8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15368544"/>
        <c:crosses val="autoZero"/>
        <c:crossBetween val="between"/>
        <c:majorUnit val="4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A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717-4C2D-B900-AE90B97A7EC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717-4C2D-B900-AE90B97A7ECF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717-4C2D-B900-AE90B97A7ECF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List1!$A$2:$A$15</c:f>
              <c:numCache>
                <c:formatCode>#,##0.00</c:formatCode>
                <c:ptCount val="14"/>
                <c:pt idx="0">
                  <c:v>2433.2979035394196</c:v>
                </c:pt>
                <c:pt idx="1">
                  <c:v>2118.8216998354706</c:v>
                </c:pt>
                <c:pt idx="2">
                  <c:v>2036.2547928333652</c:v>
                </c:pt>
                <c:pt idx="3">
                  <c:v>2031.5527864739588</c:v>
                </c:pt>
                <c:pt idx="4">
                  <c:v>2012.5817449900701</c:v>
                </c:pt>
                <c:pt idx="5">
                  <c:v>1942.2121467162597</c:v>
                </c:pt>
                <c:pt idx="6">
                  <c:v>1669.2550839560761</c:v>
                </c:pt>
                <c:pt idx="7">
                  <c:v>1571.4235012765455</c:v>
                </c:pt>
                <c:pt idx="8">
                  <c:v>1472.0152526925879</c:v>
                </c:pt>
                <c:pt idx="9">
                  <c:v>1211.2284308167896</c:v>
                </c:pt>
                <c:pt idx="10">
                  <c:v>1194.6418968631422</c:v>
                </c:pt>
                <c:pt idx="11">
                  <c:v>1168.4849251995602</c:v>
                </c:pt>
                <c:pt idx="12">
                  <c:v>980.80945308732169</c:v>
                </c:pt>
                <c:pt idx="13">
                  <c:v>819.83675361124699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List1!#REF!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6-3717-4C2D-B900-AE90B97A7E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axId val="915368544"/>
        <c:axId val="915366976"/>
      </c:barChart>
      <c:catAx>
        <c:axId val="915368544"/>
        <c:scaling>
          <c:orientation val="maxMin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915366976"/>
        <c:crosses val="autoZero"/>
        <c:auto val="1"/>
        <c:lblAlgn val="ctr"/>
        <c:lblOffset val="100"/>
        <c:noMultiLvlLbl val="0"/>
      </c:catAx>
      <c:valAx>
        <c:axId val="915366976"/>
        <c:scaling>
          <c:orientation val="minMax"/>
          <c:max val="3000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15368544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A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CF6-4FDB-992C-C3301253469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CF6-4FDB-992C-C3301253469F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0CF6-4FDB-992C-C3301253469F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434-42CC-BA1D-999B4C9D790F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EA65-49CB-8D83-5382A8C8812E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EA65-49CB-8D83-5382A8C8812E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EA65-49CB-8D83-5382A8C8812E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3029-49B2-AB23-8CE7F8B21BB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3029-49B2-AB23-8CE7F8B21BBC}"/>
              </c:ext>
            </c:extLst>
          </c:dPt>
          <c:dPt>
            <c:idx val="12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2353-4E8F-8DC1-33CE97D24E04}"/>
              </c:ext>
            </c:extLst>
          </c:dPt>
          <c:dPt>
            <c:idx val="1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915A-405B-A3D4-C6895EB6976B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List1!$A$2:$A$15</c:f>
              <c:numCache>
                <c:formatCode>General</c:formatCode>
                <c:ptCount val="14"/>
                <c:pt idx="0">
                  <c:v>340.64080944350758</c:v>
                </c:pt>
                <c:pt idx="1">
                  <c:v>268.02651081705835</c:v>
                </c:pt>
                <c:pt idx="2">
                  <c:v>225.97950534901634</c:v>
                </c:pt>
                <c:pt idx="3">
                  <c:v>208.93587796597046</c:v>
                </c:pt>
                <c:pt idx="4">
                  <c:v>185.65581233324656</c:v>
                </c:pt>
                <c:pt idx="5">
                  <c:v>178.37271058224235</c:v>
                </c:pt>
                <c:pt idx="6">
                  <c:v>161.42611086652619</c:v>
                </c:pt>
                <c:pt idx="7">
                  <c:v>159.52328702375121</c:v>
                </c:pt>
                <c:pt idx="8">
                  <c:v>144.88885499675916</c:v>
                </c:pt>
                <c:pt idx="9">
                  <c:v>136.35458968701971</c:v>
                </c:pt>
                <c:pt idx="10">
                  <c:v>109.20306768922978</c:v>
                </c:pt>
                <c:pt idx="11">
                  <c:v>87.640581363167485</c:v>
                </c:pt>
                <c:pt idx="12">
                  <c:v>-68.631853653163489</c:v>
                </c:pt>
                <c:pt idx="13">
                  <c:v>-228.45624055098278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List1!#REF!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2-0CF6-4FDB-992C-C330125346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axId val="915368544"/>
        <c:axId val="915366976"/>
      </c:barChart>
      <c:catAx>
        <c:axId val="915368544"/>
        <c:scaling>
          <c:orientation val="maxMin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915366976"/>
        <c:crosses val="autoZero"/>
        <c:auto val="1"/>
        <c:lblAlgn val="ctr"/>
        <c:lblOffset val="100"/>
        <c:noMultiLvlLbl val="0"/>
      </c:catAx>
      <c:valAx>
        <c:axId val="915366976"/>
        <c:scaling>
          <c:orientation val="minMax"/>
          <c:max val="800"/>
          <c:min val="-8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915368544"/>
        <c:crosses val="autoZero"/>
        <c:crossBetween val="between"/>
        <c:majorUnit val="4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13417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74983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00394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3584CE-9EBC-AD46-8819-745BF0C92CFB}" type="slidenum">
              <a:rPr kumimoji="0" lang="en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95590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7766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55840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62362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76439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51012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.svg"/><Relationship Id="rId5" Type="http://schemas.openxmlformats.org/officeDocument/2006/relationships/image" Target="../media/image12.png"/><Relationship Id="rId4" Type="http://schemas.openxmlformats.org/officeDocument/2006/relationships/image" Target="../media/image7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0.png"/><Relationship Id="rId5" Type="http://schemas.openxmlformats.org/officeDocument/2006/relationships/image" Target="../media/image4.svg"/><Relationship Id="rId4" Type="http://schemas.openxmlformats.org/officeDocument/2006/relationships/image" Target="../media/image14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0.png"/><Relationship Id="rId5" Type="http://schemas.openxmlformats.org/officeDocument/2006/relationships/image" Target="../media/image4.svg"/><Relationship Id="rId4" Type="http://schemas.openxmlformats.org/officeDocument/2006/relationships/image" Target="../media/image14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0.png"/><Relationship Id="rId5" Type="http://schemas.openxmlformats.org/officeDocument/2006/relationships/image" Target="../media/image4.svg"/><Relationship Id="rId4" Type="http://schemas.openxmlformats.org/officeDocument/2006/relationships/image" Target="../media/image14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7.sv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0.png"/><Relationship Id="rId5" Type="http://schemas.openxmlformats.org/officeDocument/2006/relationships/image" Target="../media/image4.svg"/><Relationship Id="rId4" Type="http://schemas.openxmlformats.org/officeDocument/2006/relationships/image" Target="../media/image14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.svg"/><Relationship Id="rId5" Type="http://schemas.openxmlformats.org/officeDocument/2006/relationships/image" Target="../media/image12.png"/><Relationship Id="rId4" Type="http://schemas.openxmlformats.org/officeDocument/2006/relationships/image" Target="../media/image7.sv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4.svg"/><Relationship Id="rId5" Type="http://schemas.openxmlformats.org/officeDocument/2006/relationships/image" Target="../media/image12.png"/><Relationship Id="rId4" Type="http://schemas.openxmlformats.org/officeDocument/2006/relationships/image" Target="../media/image7.sv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0.png"/><Relationship Id="rId5" Type="http://schemas.openxmlformats.org/officeDocument/2006/relationships/image" Target="../media/image4.svg"/><Relationship Id="rId4" Type="http://schemas.openxmlformats.org/officeDocument/2006/relationships/image" Target="../media/image14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0.png"/><Relationship Id="rId5" Type="http://schemas.openxmlformats.org/officeDocument/2006/relationships/image" Target="../media/image4.svg"/><Relationship Id="rId4" Type="http://schemas.openxmlformats.org/officeDocument/2006/relationships/image" Target="../media/image14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0.png"/><Relationship Id="rId5" Type="http://schemas.openxmlformats.org/officeDocument/2006/relationships/image" Target="../media/image4.svg"/><Relationship Id="rId4" Type="http://schemas.openxmlformats.org/officeDocument/2006/relationships/image" Target="../media/image14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7.sv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0.png"/><Relationship Id="rId5" Type="http://schemas.openxmlformats.org/officeDocument/2006/relationships/image" Target="../media/image4.svg"/><Relationship Id="rId4" Type="http://schemas.openxmlformats.org/officeDocument/2006/relationships/image" Target="../media/image14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4.svg"/><Relationship Id="rId5" Type="http://schemas.openxmlformats.org/officeDocument/2006/relationships/image" Target="../media/image12.png"/><Relationship Id="rId4" Type="http://schemas.openxmlformats.org/officeDocument/2006/relationships/image" Target="../media/image7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4.svg"/><Relationship Id="rId5" Type="http://schemas.openxmlformats.org/officeDocument/2006/relationships/image" Target="../media/image12.png"/><Relationship Id="rId4" Type="http://schemas.openxmlformats.org/officeDocument/2006/relationships/image" Target="../media/image7.sv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0.png"/><Relationship Id="rId5" Type="http://schemas.openxmlformats.org/officeDocument/2006/relationships/image" Target="../media/image4.svg"/><Relationship Id="rId4" Type="http://schemas.openxmlformats.org/officeDocument/2006/relationships/image" Target="../media/image1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sv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0.png"/><Relationship Id="rId5" Type="http://schemas.openxmlformats.org/officeDocument/2006/relationships/image" Target="../media/image4.svg"/><Relationship Id="rId4" Type="http://schemas.openxmlformats.org/officeDocument/2006/relationships/image" Target="../media/image14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0.png"/><Relationship Id="rId5" Type="http://schemas.openxmlformats.org/officeDocument/2006/relationships/image" Target="../media/image4.svg"/><Relationship Id="rId4" Type="http://schemas.openxmlformats.org/officeDocument/2006/relationships/image" Target="../media/image14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0.png"/><Relationship Id="rId5" Type="http://schemas.openxmlformats.org/officeDocument/2006/relationships/image" Target="../media/image4.svg"/><Relationship Id="rId4" Type="http://schemas.openxmlformats.org/officeDocument/2006/relationships/image" Target="../media/image14.pn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4.svg"/><Relationship Id="rId5" Type="http://schemas.openxmlformats.org/officeDocument/2006/relationships/image" Target="../media/image12.png"/><Relationship Id="rId4" Type="http://schemas.openxmlformats.org/officeDocument/2006/relationships/image" Target="../media/image7.sv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50.svg"/><Relationship Id="rId5" Type="http://schemas.openxmlformats.org/officeDocument/2006/relationships/image" Target="../media/image20.png"/><Relationship Id="rId4" Type="http://schemas.openxmlformats.org/officeDocument/2006/relationships/image" Target="../media/image3.sv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3.svg"/><Relationship Id="rId5" Type="http://schemas.openxmlformats.org/officeDocument/2006/relationships/image" Target="../media/image23.png"/><Relationship Id="rId4" Type="http://schemas.openxmlformats.org/officeDocument/2006/relationships/image" Target="../media/image50.sv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3.svg"/><Relationship Id="rId5" Type="http://schemas.openxmlformats.org/officeDocument/2006/relationships/image" Target="../media/image23.png"/><Relationship Id="rId4" Type="http://schemas.openxmlformats.org/officeDocument/2006/relationships/image" Target="../media/image50.sv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50.svg"/><Relationship Id="rId5" Type="http://schemas.openxmlformats.org/officeDocument/2006/relationships/image" Target="../media/image20.png"/><Relationship Id="rId4" Type="http://schemas.openxmlformats.org/officeDocument/2006/relationships/image" Target="../media/image3.sv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50.svg"/><Relationship Id="rId5" Type="http://schemas.openxmlformats.org/officeDocument/2006/relationships/image" Target="../media/image20.png"/><Relationship Id="rId4" Type="http://schemas.openxmlformats.org/officeDocument/2006/relationships/image" Target="../media/image3.sv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5.svg"/><Relationship Id="rId5" Type="http://schemas.openxmlformats.org/officeDocument/2006/relationships/image" Target="../media/image12.png"/><Relationship Id="rId4" Type="http://schemas.openxmlformats.org/officeDocument/2006/relationships/image" Target="../media/image8.sv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24.png"/><Relationship Id="rId5" Type="http://schemas.openxmlformats.org/officeDocument/2006/relationships/image" Target="../media/image5.svg"/><Relationship Id="rId4" Type="http://schemas.openxmlformats.org/officeDocument/2006/relationships/image" Target="../media/image14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24.png"/><Relationship Id="rId5" Type="http://schemas.openxmlformats.org/officeDocument/2006/relationships/image" Target="../media/image5.svg"/><Relationship Id="rId4" Type="http://schemas.openxmlformats.org/officeDocument/2006/relationships/image" Target="../media/image14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24.png"/><Relationship Id="rId5" Type="http://schemas.openxmlformats.org/officeDocument/2006/relationships/image" Target="../media/image5.svg"/><Relationship Id="rId4" Type="http://schemas.openxmlformats.org/officeDocument/2006/relationships/image" Target="../media/image14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8.sv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24.png"/><Relationship Id="rId5" Type="http://schemas.openxmlformats.org/officeDocument/2006/relationships/image" Target="../media/image5.svg"/><Relationship Id="rId4" Type="http://schemas.openxmlformats.org/officeDocument/2006/relationships/image" Target="../media/image14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5.svg"/><Relationship Id="rId5" Type="http://schemas.openxmlformats.org/officeDocument/2006/relationships/image" Target="../media/image12.png"/><Relationship Id="rId4" Type="http://schemas.openxmlformats.org/officeDocument/2006/relationships/image" Target="../media/image8.sv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.emf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8CA5674-FB0A-4B19-8FB4-5CF5044766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F4230AB3-D2AD-45BC-85DB-046467DE83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872D9D4-A57E-41C8-9629-F68D608AF1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72E0-D1EA-4D25-BE4C-23FE088892DD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5DE884D-C789-454C-AC8B-96FD6CD5EB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ECC7C78-77AF-40BD-BEFA-C3A6FDC5B6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90CA94-515B-48E4-BC7A-5C157EDFDD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574384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507854E-FA44-44FA-8044-959A98ED2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B5CD4F0-5E93-44A8-98D5-3B8A295DD0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C3686EF-3BC3-4EAD-9076-CECC44E147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72E0-D1EA-4D25-BE4C-23FE088892DD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98635B0-7A42-4E3A-BFA9-440EE1D40F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E364D61-8F8B-4BD1-B45C-708E4F3694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90CA94-515B-48E4-BC7A-5C157EDFDD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560601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199CC4-282B-4F18-8959-5E2FC8B108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A89D34A-4EA2-42E4-8505-4CBA71483E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7EA6CEA-80BC-4FDD-8B7E-A066C760F6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72E0-D1EA-4D25-BE4C-23FE088892DD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C1DBD95-547C-49B6-8228-24A6A17BB7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2AF0C15-6598-44BF-98B5-8F57053E3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90CA94-515B-48E4-BC7A-5C157EDFDD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913981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4735F1E-E833-440F-B93B-526CC2421A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35687251-4E6D-415C-BA31-EF4E6BED444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EDC06AE3-670E-4AED-AA94-8C4A9291F5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10874265-8118-43EB-AA02-B4CE31376B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72E0-D1EA-4D25-BE4C-23FE088892DD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1297741-3ACF-41E5-A1A4-9933ACB370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DDCCE41-B5E6-4DE5-B8BB-2EFC9E73F9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90CA94-515B-48E4-BC7A-5C157EDFDD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468681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324B7FB-F045-48AC-AFD1-F4A83ED1F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11A54C34-8985-4BD0-9B80-E397DEFD15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A250480F-3C8C-4AEA-BC08-910212D2344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6C53E83-C66D-484D-B4BC-787A4D4DFDD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54681400-F85F-44EB-BCDC-C02B560674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FB4CCDD-9DDC-4865-8A20-A7D021B5BB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72E0-D1EA-4D25-BE4C-23FE088892DD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77492514-1665-433F-925A-FC5A45340F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68B13B76-6485-4DE3-9F4F-CE8DFF829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90CA94-515B-48E4-BC7A-5C157EDFDD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574182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A87BFB1-8274-4637-A7D2-3D80AD844B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104C3CE6-5CA3-4DB8-B83B-D495CB8F39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72E0-D1EA-4D25-BE4C-23FE088892DD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5694BE5F-C880-47D9-923E-1166D5A220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70DCA6CD-8D99-4E41-A9EA-9CDC43AF17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90CA94-515B-48E4-BC7A-5C157EDFDD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410783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403822AE-F9B6-45BD-8873-79EB11419F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72E0-D1EA-4D25-BE4C-23FE088892DD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0987310D-8E2B-4E85-80FC-32FACDF715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CFD11B76-964A-4A24-B965-384A3D2180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90CA94-515B-48E4-BC7A-5C157EDFDD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254060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E1F2D51-F022-471F-AA04-A33BFD9A17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3E0D267B-6B08-4799-9C80-972BC74AF9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5D5B1AAB-A5FA-4196-BA08-0AA6532986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82E0A624-801B-4FF7-8B04-D9B8EA4D55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72E0-D1EA-4D25-BE4C-23FE088892DD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4E2A93BC-3EC9-455C-A08C-AA72ACB875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573628FC-79DA-425D-BE12-F0EE933A93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90CA94-515B-48E4-BC7A-5C157EDFDD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475353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8122C9-E4D7-4811-9AAD-1169AD9AA1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82A72C71-61D0-498D-8289-1DD7061C376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24DE5336-504A-471A-A98E-1D9FF4E48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3A19190E-14C1-4F58-B55A-B6055A67E5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72E0-D1EA-4D25-BE4C-23FE088892DD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910AD24-037E-40DF-86D7-568BBC467E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A6131B4-BCBD-409D-B696-4CF480B804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90CA94-515B-48E4-BC7A-5C157EDFDD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152264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834CA9E-C6DC-4DC9-BA5C-6428F6C463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448D6F5C-DFE8-414D-8CE7-B908E044066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61D3C40-8C83-491C-B308-E57EE6201C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72E0-D1EA-4D25-BE4C-23FE088892DD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714EEA-10FF-4716-AD72-5F9D91CE7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0CFCA6F-8811-4BAC-9756-A6BA0088D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90CA94-515B-48E4-BC7A-5C157EDFDD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917176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D3BECC2E-D113-49B6-9AAF-DF052B865C8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256D68D0-D22A-46EB-B6CA-1819BE8817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8ED1F7E-94A7-4F3A-A43F-DEB7E61C37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72E0-D1EA-4D25-BE4C-23FE088892DD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18F2396-0618-472D-B7D0-F7870BB8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2DB991D-A741-4F1C-884F-D796E2E3CF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90CA94-515B-48E4-BC7A-5C157EDFDD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84916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60636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88168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8137539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003465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81127840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60310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573111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274663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323013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049993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624051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8281177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0512691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3157216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3533542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734734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4846729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628599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383611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97171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3897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398723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127766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3176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193231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472702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3982112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1576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357783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830452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9070696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88361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929375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534854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1835774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88396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6203808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04414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94569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24901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548648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700064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358112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511659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9" name="Skupina 8">
            <a:extLst>
              <a:ext uri="{FF2B5EF4-FFF2-40B4-BE49-F238E27FC236}">
                <a16:creationId xmlns:a16="http://schemas.microsoft.com/office/drawing/2014/main" id="{EDDAB015-EBF0-4938-889E-56AD1CB499F3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5686FF4F-BD31-4284-A6F4-E2F29A74A3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402B9ECF-11DA-4FAD-9387-9E56728971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4397354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463614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008518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33627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269256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7116997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4017308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75679056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701115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427404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36169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8160265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346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55753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2963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3.03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48831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04040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309253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20983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86426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577020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2180268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78172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55791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008711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3.03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5432321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059203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12912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9.xml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5" Type="http://schemas.openxmlformats.org/officeDocument/2006/relationships/slideLayout" Target="../slideLayouts/slideLayout81.xml"/><Relationship Id="rId4" Type="http://schemas.openxmlformats.org/officeDocument/2006/relationships/slideLayout" Target="../slideLayouts/slideLayout8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image" Target="../media/image5.svg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84.xml"/><Relationship Id="rId16" Type="http://schemas.openxmlformats.org/officeDocument/2006/relationships/image" Target="../media/image8.svg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theme" Target="../theme/theme11.xml"/><Relationship Id="rId5" Type="http://schemas.openxmlformats.org/officeDocument/2006/relationships/slideLayout" Target="../slideLayouts/slideLayout87.xml"/><Relationship Id="rId15" Type="http://schemas.openxmlformats.org/officeDocument/2006/relationships/image" Target="../media/image17.png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image" Target="../media/image16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12.sv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4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5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3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image" Target="../media/image7.svg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image" Target="../media/image13.png"/><Relationship Id="rId2" Type="http://schemas.openxmlformats.org/officeDocument/2006/relationships/slideLayout" Target="../slideLayouts/slideLayout59.xml"/><Relationship Id="rId16" Type="http://schemas.openxmlformats.org/officeDocument/2006/relationships/image" Target="../media/image10.png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62.xml"/><Relationship Id="rId15" Type="http://schemas.openxmlformats.org/officeDocument/2006/relationships/image" Target="../media/image4.svg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image" Target="../media/image14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5" Type="http://schemas.openxmlformats.org/officeDocument/2006/relationships/slideLayout" Target="../slideLayouts/slideLayout72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535132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16" r:id="rId5"/>
    <p:sldLayoutId id="2147484017" r:id="rId6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33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  <p:sldLayoutId id="2147484020" r:id="rId2"/>
    <p:sldLayoutId id="2147484021" r:id="rId3"/>
    <p:sldLayoutId id="2147484022" r:id="rId4"/>
    <p:sldLayoutId id="2147484023" r:id="rId5"/>
    <p:sldLayoutId id="2147484024" r:id="rId6"/>
    <p:sldLayoutId id="2147484025" r:id="rId7"/>
    <p:sldLayoutId id="2147484026" r:id="rId8"/>
    <p:sldLayoutId id="2147484027" r:id="rId9"/>
    <p:sldLayoutId id="2147484028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E3009426-EE89-4BCD-81E3-44DE138875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27F14AE-74EC-4EA3-8229-6C3631DCF0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1F413A5-7A19-4D49-8BE0-556EDBD8962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4372E0-D1EA-4D25-BE4C-23FE088892DD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A32CBC7A-0616-4C02-A75F-D4C7DE464A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72686AB-02F8-4E0B-B6D3-14BF5A8FA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90CA94-515B-48E4-BC7A-5C157EDFDD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82888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401461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4159AF-26F1-42E1-BF83-F89C20A19403}" type="datetimeFigureOut">
              <a:rPr lang="cs-CZ" smtClean="0"/>
              <a:t>13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99831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316554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865582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  <p:sldLayoutId id="2147483975" r:id="rId9"/>
    <p:sldLayoutId id="2147483976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0" name="Skupina 9">
            <a:extLst>
              <a:ext uri="{FF2B5EF4-FFF2-40B4-BE49-F238E27FC236}">
                <a16:creationId xmlns:a16="http://schemas.microsoft.com/office/drawing/2014/main" id="{1446B490-50F8-4EEA-84BF-ED4B3F9022BD}"/>
              </a:ext>
            </a:extLst>
          </p:cNvPr>
          <p:cNvGrpSpPr/>
          <p:nvPr userDrawn="1"/>
        </p:nvGrpSpPr>
        <p:grpSpPr>
          <a:xfrm>
            <a:off x="6287878" y="115007"/>
            <a:ext cx="5742276" cy="451023"/>
            <a:chOff x="6353729" y="329946"/>
            <a:chExt cx="5742276" cy="451023"/>
          </a:xfrm>
        </p:grpSpPr>
        <p:grpSp>
          <p:nvGrpSpPr>
            <p:cNvPr id="15" name="Skupina 14">
              <a:extLst>
                <a:ext uri="{FF2B5EF4-FFF2-40B4-BE49-F238E27FC236}">
                  <a16:creationId xmlns:a16="http://schemas.microsoft.com/office/drawing/2014/main" id="{DD56039D-6C4E-4F36-A9AD-1A5DE065253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D076463-9103-4D9E-86F8-FD67243D0BB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15975688-7C12-499C-A870-E04744A86CD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6" name="Obrázek 15" descr="Obsah obrázku kreslení&#10;&#10;Popis byl vytvořen automaticky">
              <a:extLst>
                <a:ext uri="{FF2B5EF4-FFF2-40B4-BE49-F238E27FC236}">
                  <a16:creationId xmlns:a16="http://schemas.microsoft.com/office/drawing/2014/main" id="{70D84849-79F4-4C81-AEB0-8C902D8C7B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3010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8" r:id="rId1"/>
    <p:sldLayoutId id="2147483979" r:id="rId2"/>
    <p:sldLayoutId id="2147483980" r:id="rId3"/>
    <p:sldLayoutId id="2147483981" r:id="rId4"/>
    <p:sldLayoutId id="2147483982" r:id="rId5"/>
    <p:sldLayoutId id="2147483983" r:id="rId6"/>
    <p:sldLayoutId id="2147483984" r:id="rId7"/>
    <p:sldLayoutId id="2147483985" r:id="rId8"/>
    <p:sldLayoutId id="2147483986" r:id="rId9"/>
    <p:sldLayoutId id="2147483987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882908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  <p:sldLayoutId id="2147484006" r:id="rId5"/>
    <p:sldLayoutId id="2147484007" r:id="rId6"/>
    <p:sldLayoutId id="2147484008" r:id="rId7"/>
    <p:sldLayoutId id="2147484009" r:id="rId8"/>
    <p:sldLayoutId id="2147484010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25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image" Target="../media/image34.png"/><Relationship Id="rId4" Type="http://schemas.openxmlformats.org/officeDocument/2006/relationships/tags" Target="../tags/tag5.xml"/><Relationship Id="rId9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tags" Target="../tags/tag10.xml"/><Relationship Id="rId7" Type="http://schemas.openxmlformats.org/officeDocument/2006/relationships/image" Target="../media/image39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Layout" Target="../slideLayouts/slideLayout25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image" Target="../media/image4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6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6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5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5.emf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emf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chart" Target="../charts/chart14.xml"/><Relationship Id="rId4" Type="http://schemas.openxmlformats.org/officeDocument/2006/relationships/slideLayout" Target="../slideLayouts/slideLayout5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chart" Target="../charts/chart15.xml"/><Relationship Id="rId4" Type="http://schemas.openxmlformats.org/officeDocument/2006/relationships/slideLayout" Target="../slideLayouts/slideLayout5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chart" Target="../charts/chart16.xml"/><Relationship Id="rId4" Type="http://schemas.openxmlformats.org/officeDocument/2006/relationships/slideLayout" Target="../slideLayouts/slideLayout4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chart" Target="../charts/chart17.xml"/><Relationship Id="rId4" Type="http://schemas.openxmlformats.org/officeDocument/2006/relationships/slideLayout" Target="../slideLayouts/slideLayout4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6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image" Target="../media/image50.png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image" Target="../media/image49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image" Target="../media/image48.png"/><Relationship Id="rId5" Type="http://schemas.openxmlformats.org/officeDocument/2006/relationships/tags" Target="../tags/tag33.xml"/><Relationship Id="rId10" Type="http://schemas.openxmlformats.org/officeDocument/2006/relationships/notesSlide" Target="../notesSlides/notesSlide9.xml"/><Relationship Id="rId4" Type="http://schemas.openxmlformats.org/officeDocument/2006/relationships/tags" Target="../tags/tag32.xml"/><Relationship Id="rId9" Type="http://schemas.openxmlformats.org/officeDocument/2006/relationships/slideLayout" Target="../slideLayouts/slideLayout11.xml"/><Relationship Id="rId14" Type="http://schemas.openxmlformats.org/officeDocument/2006/relationships/image" Target="../media/image5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67.xml"/><Relationship Id="rId4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0397"/>
            <a:ext cx="11905307" cy="1974265"/>
          </a:xfrm>
        </p:spPr>
        <p:txBody>
          <a:bodyPr>
            <a:normAutofit/>
          </a:bodyPr>
          <a:lstStyle/>
          <a:p>
            <a:r>
              <a:rPr lang="cs-CZ" sz="5400" b="1" dirty="0"/>
              <a:t>VÝVOJ EPIDEMIE COVID-19</a:t>
            </a:r>
          </a:p>
          <a:p>
            <a:r>
              <a:rPr lang="cs-CZ" sz="5400" i="1" dirty="0"/>
              <a:t>Aktuální data k </a:t>
            </a:r>
            <a:r>
              <a:rPr lang="cs-CZ" sz="5400" i="1" dirty="0" smtClean="0"/>
              <a:t>10. 3. – 11. 3. </a:t>
            </a:r>
            <a:r>
              <a:rPr lang="cs-CZ" sz="5400" i="1" dirty="0"/>
              <a:t>2021</a:t>
            </a:r>
            <a:endParaRPr lang="cs-CZ" sz="3900" i="1" dirty="0"/>
          </a:p>
        </p:txBody>
      </p:sp>
    </p:spTree>
    <p:extLst>
      <p:ext uri="{BB962C8B-B14F-4D97-AF65-F5344CB8AC3E}">
        <p14:creationId xmlns:p14="http://schemas.microsoft.com/office/powerpoint/2010/main" val="4593865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391886" y="365148"/>
            <a:ext cx="11561490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izikový růst epidemie vytvořil v </a:t>
            </a:r>
            <a:r>
              <a:rPr lang="cs-CZ" sz="3200" b="1" dirty="0">
                <a:solidFill>
                  <a:prstClr val="black"/>
                </a:solidFill>
                <a:latin typeface="Calibri" panose="020F0502020204030204"/>
              </a:rPr>
              <a:t>uplynulých týdnech významný kontrast mezi regiony Čech a Moravy, přičemž nejvíce postiženými regiony byl kraj Královéhradecký a Karlovarský. </a:t>
            </a:r>
            <a:r>
              <a:rPr lang="cs-CZ" sz="3200" b="1" dirty="0" smtClean="0">
                <a:solidFill>
                  <a:prstClr val="black"/>
                </a:solidFill>
                <a:latin typeface="Calibri" panose="020F0502020204030204"/>
              </a:rPr>
              <a:t>V těchto regionech ale postupně dochází k poklesu šíření nákazy. </a:t>
            </a:r>
            <a:endParaRPr lang="cs-CZ" sz="3200" b="1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dirty="0">
                <a:solidFill>
                  <a:prstClr val="black"/>
                </a:solidFill>
                <a:latin typeface="Calibri" panose="020F0502020204030204"/>
              </a:rPr>
              <a:t>V současnosti je zrychleným šířením nákazy zasahováno stále více </a:t>
            </a:r>
            <a:r>
              <a:rPr lang="cs-CZ" sz="3200" b="1" dirty="0" smtClean="0">
                <a:solidFill>
                  <a:prstClr val="black"/>
                </a:solidFill>
                <a:latin typeface="Calibri" panose="020F0502020204030204"/>
              </a:rPr>
              <a:t>okresů v </a:t>
            </a:r>
            <a:r>
              <a:rPr lang="cs-CZ" sz="3200" b="1" dirty="0">
                <a:solidFill>
                  <a:prstClr val="black"/>
                </a:solidFill>
                <a:latin typeface="Calibri" panose="020F0502020204030204"/>
              </a:rPr>
              <a:t>Plzeňském, Pardubickém a Středočeském kraji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Zátěž </a:t>
            </a:r>
            <a:r>
              <a:rPr kumimoji="0" lang="cs-CZ" sz="3200" b="1" i="0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v nejvíce zasažených regionech je až 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2,5 - 3x vyšší než v ostatních region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 panose="020B0604020202020204" pitchFamily="34" charset="0"/>
            </a:endParaRPr>
          </a:p>
        </p:txBody>
      </p:sp>
      <p:sp>
        <p:nvSpPr>
          <p:cNvPr id="3" name="Šipka dolů 2"/>
          <p:cNvSpPr/>
          <p:nvPr/>
        </p:nvSpPr>
        <p:spPr>
          <a:xfrm>
            <a:off x="5622632" y="5697752"/>
            <a:ext cx="1099997" cy="77052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64074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 descr="Map&#10;&#10;Description automatically generated">
            <a:extLst>
              <a:ext uri="{FF2B5EF4-FFF2-40B4-BE49-F238E27FC236}">
                <a16:creationId xmlns:a16="http://schemas.microsoft.com/office/drawing/2014/main" id="{150979D6-F17A-4225-BE63-B5B0F9AA839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95"/>
          <a:stretch/>
        </p:blipFill>
        <p:spPr>
          <a:xfrm>
            <a:off x="7438648" y="4288136"/>
            <a:ext cx="3785400" cy="2320006"/>
          </a:xfrm>
          <a:prstGeom prst="rect">
            <a:avLst/>
          </a:prstGeom>
        </p:spPr>
      </p:pic>
      <p:pic>
        <p:nvPicPr>
          <p:cNvPr id="23" name="Picture 2" descr="Map&#10;&#10;Description automatically generated">
            <a:extLst>
              <a:ext uri="{FF2B5EF4-FFF2-40B4-BE49-F238E27FC236}">
                <a16:creationId xmlns:a16="http://schemas.microsoft.com/office/drawing/2014/main" id="{B4414943-ED02-498F-8FCE-982D4706CEE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7" r="4352"/>
          <a:stretch/>
        </p:blipFill>
        <p:spPr>
          <a:xfrm>
            <a:off x="3808808" y="4315173"/>
            <a:ext cx="3714822" cy="2292969"/>
          </a:xfrm>
          <a:prstGeom prst="rect">
            <a:avLst/>
          </a:prstGeom>
        </p:spPr>
      </p:pic>
      <p:pic>
        <p:nvPicPr>
          <p:cNvPr id="24" name="Picture 12" descr="Map&#10;&#10;Description automatically generated">
            <a:extLst>
              <a:ext uri="{FF2B5EF4-FFF2-40B4-BE49-F238E27FC236}">
                <a16:creationId xmlns:a16="http://schemas.microsoft.com/office/drawing/2014/main" id="{4B6DF7FD-86BC-4D55-A327-F2CE82517A4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0" r="5820"/>
          <a:stretch/>
        </p:blipFill>
        <p:spPr>
          <a:xfrm>
            <a:off x="181830" y="4315172"/>
            <a:ext cx="3564013" cy="2245047"/>
          </a:xfrm>
          <a:prstGeom prst="rect">
            <a:avLst/>
          </a:prstGeom>
        </p:spPr>
      </p:pic>
      <p:pic>
        <p:nvPicPr>
          <p:cNvPr id="25" name="Picture 2" descr="Map&#10;&#10;Description automatically generated">
            <a:extLst>
              <a:ext uri="{FF2B5EF4-FFF2-40B4-BE49-F238E27FC236}">
                <a16:creationId xmlns:a16="http://schemas.microsoft.com/office/drawing/2014/main" id="{09D3AB36-0B9D-419A-90C7-E1C40140203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6" r="5639"/>
          <a:stretch/>
        </p:blipFill>
        <p:spPr>
          <a:xfrm>
            <a:off x="7238749" y="888390"/>
            <a:ext cx="3490620" cy="2211828"/>
          </a:xfrm>
          <a:prstGeom prst="rect">
            <a:avLst/>
          </a:prstGeom>
        </p:spPr>
      </p:pic>
      <p:pic>
        <p:nvPicPr>
          <p:cNvPr id="29" name="Picture 28" descr="Map&#10;&#10;Description automatically generated">
            <a:extLst>
              <a:ext uri="{FF2B5EF4-FFF2-40B4-BE49-F238E27FC236}">
                <a16:creationId xmlns:a16="http://schemas.microsoft.com/office/drawing/2014/main" id="{F43EE0A4-B1B9-4548-B1F6-E50D26FE1B0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560"/>
          <a:stretch/>
        </p:blipFill>
        <p:spPr>
          <a:xfrm>
            <a:off x="3665059" y="967150"/>
            <a:ext cx="3513933" cy="2148310"/>
          </a:xfrm>
          <a:prstGeom prst="rect">
            <a:avLst/>
          </a:prstGeom>
        </p:spPr>
      </p:pic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14 denní počet nových případů (na 100 000 obyv.)</a:t>
            </a:r>
            <a:r>
              <a:rPr lang="en-US" dirty="0"/>
              <a:t> v ORP</a:t>
            </a:r>
            <a:r>
              <a:rPr lang="cs-CZ" dirty="0"/>
              <a:t> – časový vývoj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/>
        </p:nvSpPr>
        <p:spPr>
          <a:xfrm>
            <a:off x="10573065" y="2753519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573065" y="3062245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573065" y="3370971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573065" y="3679697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573065" y="3988423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/>
        </p:nvSpPr>
        <p:spPr>
          <a:xfrm>
            <a:off x="10812822" y="2658853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/>
        </p:nvSpPr>
        <p:spPr>
          <a:xfrm>
            <a:off x="10812822" y="297014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/>
        </p:nvSpPr>
        <p:spPr>
          <a:xfrm>
            <a:off x="10812822" y="328143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/>
        </p:nvSpPr>
        <p:spPr>
          <a:xfrm>
            <a:off x="10812822" y="3592723"/>
            <a:ext cx="12682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/>
        </p:nvSpPr>
        <p:spPr>
          <a:xfrm>
            <a:off x="10812822" y="3904013"/>
            <a:ext cx="14398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1 1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573065" y="4297148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573065" y="4605872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/>
        </p:nvSpPr>
        <p:spPr>
          <a:xfrm>
            <a:off x="10812822" y="4215303"/>
            <a:ext cx="14398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1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/>
        </p:nvSpPr>
        <p:spPr>
          <a:xfrm>
            <a:off x="10812822" y="4526595"/>
            <a:ext cx="8755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C466A56C-7AB9-4F4D-B765-241A4132DCA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6" r="5183"/>
          <a:stretch/>
        </p:blipFill>
        <p:spPr>
          <a:xfrm>
            <a:off x="89757" y="967150"/>
            <a:ext cx="3445242" cy="2151619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71F13721-84D9-4AFF-B0C9-4A23BCAFD021}"/>
              </a:ext>
            </a:extLst>
          </p:cNvPr>
          <p:cNvSpPr txBox="1"/>
          <p:nvPr/>
        </p:nvSpPr>
        <p:spPr>
          <a:xfrm>
            <a:off x="89757" y="652795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.2.2021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38FF0F0-F6BF-4C2B-B99A-ED597A2D7471}"/>
              </a:ext>
            </a:extLst>
          </p:cNvPr>
          <p:cNvSpPr txBox="1"/>
          <p:nvPr/>
        </p:nvSpPr>
        <p:spPr>
          <a:xfrm>
            <a:off x="3551562" y="665889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2.2021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1B2EE80-8AF1-4ABB-B915-6D71863EF81B}"/>
              </a:ext>
            </a:extLst>
          </p:cNvPr>
          <p:cNvSpPr txBox="1"/>
          <p:nvPr/>
        </p:nvSpPr>
        <p:spPr>
          <a:xfrm>
            <a:off x="7163350" y="688335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7.2.2021</a:t>
            </a:r>
          </a:p>
        </p:txBody>
      </p:sp>
      <p:sp>
        <p:nvSpPr>
          <p:cNvPr id="31" name="TextBox 29">
            <a:extLst>
              <a:ext uri="{FF2B5EF4-FFF2-40B4-BE49-F238E27FC236}">
                <a16:creationId xmlns:a16="http://schemas.microsoft.com/office/drawing/2014/main" id="{99F36A42-B936-4F65-9627-EE581211B56E}"/>
              </a:ext>
            </a:extLst>
          </p:cNvPr>
          <p:cNvSpPr txBox="1"/>
          <p:nvPr/>
        </p:nvSpPr>
        <p:spPr>
          <a:xfrm>
            <a:off x="39822" y="4115118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.2021</a:t>
            </a:r>
          </a:p>
        </p:txBody>
      </p:sp>
      <p:sp>
        <p:nvSpPr>
          <p:cNvPr id="32" name="TextBox 29">
            <a:extLst>
              <a:ext uri="{FF2B5EF4-FFF2-40B4-BE49-F238E27FC236}">
                <a16:creationId xmlns:a16="http://schemas.microsoft.com/office/drawing/2014/main" id="{A71830BB-1699-4BEA-B7F3-EC5A3A93EF4B}"/>
              </a:ext>
            </a:extLst>
          </p:cNvPr>
          <p:cNvSpPr txBox="1"/>
          <p:nvPr/>
        </p:nvSpPr>
        <p:spPr>
          <a:xfrm>
            <a:off x="3727012" y="4115118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.2.2021</a:t>
            </a:r>
          </a:p>
        </p:txBody>
      </p:sp>
      <p:sp>
        <p:nvSpPr>
          <p:cNvPr id="33" name="TextBox 29">
            <a:extLst>
              <a:ext uri="{FF2B5EF4-FFF2-40B4-BE49-F238E27FC236}">
                <a16:creationId xmlns:a16="http://schemas.microsoft.com/office/drawing/2014/main" id="{1907CFD2-3ACF-4FB2-8859-B21D109FB072}"/>
              </a:ext>
            </a:extLst>
          </p:cNvPr>
          <p:cNvSpPr txBox="1"/>
          <p:nvPr/>
        </p:nvSpPr>
        <p:spPr>
          <a:xfrm>
            <a:off x="7438648" y="4115118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.2.2021</a:t>
            </a:r>
          </a:p>
        </p:txBody>
      </p:sp>
    </p:spTree>
    <p:extLst>
      <p:ext uri="{BB962C8B-B14F-4D97-AF65-F5344CB8AC3E}">
        <p14:creationId xmlns:p14="http://schemas.microsoft.com/office/powerpoint/2010/main" val="36470571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56370E90-224A-40F5-97BB-C26749BA1A3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09"/>
          <a:stretch/>
        </p:blipFill>
        <p:spPr>
          <a:xfrm>
            <a:off x="4297687" y="1040055"/>
            <a:ext cx="3785400" cy="2340000"/>
          </a:xfrm>
          <a:prstGeom prst="rect">
            <a:avLst/>
          </a:prstGeom>
        </p:spPr>
      </p:pic>
      <p:pic>
        <p:nvPicPr>
          <p:cNvPr id="34" name="Picture 33" descr="Map&#10;&#10;Description automatically generated">
            <a:extLst>
              <a:ext uri="{FF2B5EF4-FFF2-40B4-BE49-F238E27FC236}">
                <a16:creationId xmlns:a16="http://schemas.microsoft.com/office/drawing/2014/main" id="{150979D6-F17A-4225-BE63-B5B0F9AA839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95"/>
          <a:stretch/>
        </p:blipFill>
        <p:spPr>
          <a:xfrm>
            <a:off x="299852" y="1060049"/>
            <a:ext cx="3785400" cy="2320006"/>
          </a:xfrm>
          <a:prstGeom prst="rect">
            <a:avLst/>
          </a:prstGeom>
        </p:spPr>
      </p:pic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14 denní počet nových případů (na 100 000 obyv.)</a:t>
            </a:r>
            <a:r>
              <a:rPr lang="en-US" dirty="0"/>
              <a:t> v ORP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/>
        </p:nvSpPr>
        <p:spPr>
          <a:xfrm>
            <a:off x="10216806" y="4202309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216806" y="4511035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216806" y="4819761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216806" y="5128487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216806" y="5437213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/>
        </p:nvSpPr>
        <p:spPr>
          <a:xfrm>
            <a:off x="10456563" y="4107643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/>
        </p:nvSpPr>
        <p:spPr>
          <a:xfrm>
            <a:off x="10456563" y="441893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/>
        </p:nvSpPr>
        <p:spPr>
          <a:xfrm>
            <a:off x="10456563" y="473022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/>
        </p:nvSpPr>
        <p:spPr>
          <a:xfrm>
            <a:off x="10456563" y="5041513"/>
            <a:ext cx="12682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/>
        </p:nvSpPr>
        <p:spPr>
          <a:xfrm>
            <a:off x="10456563" y="5352803"/>
            <a:ext cx="14398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1 1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216806" y="5745938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216806" y="6054662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/>
        </p:nvSpPr>
        <p:spPr>
          <a:xfrm>
            <a:off x="10456563" y="5664093"/>
            <a:ext cx="14398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1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/>
        </p:nvSpPr>
        <p:spPr>
          <a:xfrm>
            <a:off x="10456563" y="5975385"/>
            <a:ext cx="8755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29">
            <a:extLst>
              <a:ext uri="{FF2B5EF4-FFF2-40B4-BE49-F238E27FC236}">
                <a16:creationId xmlns:a16="http://schemas.microsoft.com/office/drawing/2014/main" id="{1907CFD2-3ACF-4FB2-8859-B21D109FB07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89860" y="741839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.2.2021</a:t>
            </a:r>
          </a:p>
        </p:txBody>
      </p:sp>
      <p:sp>
        <p:nvSpPr>
          <p:cNvPr id="22" name="TextBox 29">
            <a:extLst>
              <a:ext uri="{FF2B5EF4-FFF2-40B4-BE49-F238E27FC236}">
                <a16:creationId xmlns:a16="http://schemas.microsoft.com/office/drawing/2014/main" id="{CE3F7488-282C-4715-9E85-0FA3DD51062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470495" y="741839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877454" y="4056628"/>
            <a:ext cx="826554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Významně zvýšené šíření nákazy postupně zasahuje více regionů, nově i na Moravě a Slezsku. Významné nárůsty registrujeme v Jihomoravském kraji a Olomouckém kraji. Postupné šíření lze dát do souvislosti s prokázaným výskytem nakažlivější formy viru, která postupně získává převahu nad předchozími variantami. Vysoké počty nakažených pacientů v původně nejvíce zasažených částech Čech nově stagnují nebo již začínají klesat, proto v celkových populačních přehledech registrujeme zpomalení růstu. Naopak riziko eskalovaného růstu hrozí ve většině okresů moravských regionů – zde je ale možné, že šíření nákazy zabrzdí nově přijatá opatření. </a:t>
            </a:r>
          </a:p>
        </p:txBody>
      </p:sp>
      <p:sp>
        <p:nvSpPr>
          <p:cNvPr id="23" name="TextBox 29">
            <a:extLst>
              <a:ext uri="{FF2B5EF4-FFF2-40B4-BE49-F238E27FC236}">
                <a16:creationId xmlns:a16="http://schemas.microsoft.com/office/drawing/2014/main" id="{DF80813F-2BA1-459E-A80E-E647301050E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388389" y="762599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b="1" dirty="0">
                <a:solidFill>
                  <a:srgbClr val="000000"/>
                </a:solidFill>
                <a:latin typeface="Arial" panose="020B0604020202020204"/>
              </a:rPr>
              <a:t>7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pic>
        <p:nvPicPr>
          <p:cNvPr id="21" name="Picture 20" descr="Map&#10;&#10;Description automatically generated">
            <a:extLst>
              <a:ext uri="{FF2B5EF4-FFF2-40B4-BE49-F238E27FC236}">
                <a16:creationId xmlns:a16="http://schemas.microsoft.com/office/drawing/2014/main" id="{0398DECE-C66B-482B-903C-0526E4051B89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53" r="10441"/>
          <a:stretch/>
        </p:blipFill>
        <p:spPr>
          <a:xfrm>
            <a:off x="8305627" y="1089000"/>
            <a:ext cx="3726743" cy="23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0028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Map&#10;&#10;Description automatically generated">
            <a:extLst>
              <a:ext uri="{FF2B5EF4-FFF2-40B4-BE49-F238E27FC236}">
                <a16:creationId xmlns:a16="http://schemas.microsoft.com/office/drawing/2014/main" id="{62FF5740-907F-44BF-86AB-CFA121329D7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9" r="5276"/>
          <a:stretch/>
        </p:blipFill>
        <p:spPr>
          <a:xfrm>
            <a:off x="5541796" y="3988630"/>
            <a:ext cx="4311495" cy="2700000"/>
          </a:xfrm>
          <a:prstGeom prst="rect">
            <a:avLst/>
          </a:prstGeom>
        </p:spPr>
      </p:pic>
      <p:pic>
        <p:nvPicPr>
          <p:cNvPr id="24" name="Picture 23" descr="Map&#10;&#10;Description automatically generated">
            <a:extLst>
              <a:ext uri="{FF2B5EF4-FFF2-40B4-BE49-F238E27FC236}">
                <a16:creationId xmlns:a16="http://schemas.microsoft.com/office/drawing/2014/main" id="{6BB08009-E9B9-489C-ACAA-B94A7092E63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25"/>
          <a:stretch/>
        </p:blipFill>
        <p:spPr>
          <a:xfrm>
            <a:off x="338540" y="4165186"/>
            <a:ext cx="4311495" cy="2700000"/>
          </a:xfrm>
          <a:prstGeom prst="rect">
            <a:avLst/>
          </a:prstGeom>
        </p:spPr>
      </p:pic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BE356AB7-BB38-4686-8A2E-AC36205BA1C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7309" y="927293"/>
            <a:ext cx="4785450" cy="2792284"/>
          </a:xfrm>
          <a:prstGeom prst="rect">
            <a:avLst/>
          </a:prstGeom>
        </p:spPr>
      </p:pic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0B392155-55C6-47A2-B003-58152508C83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412" y="975486"/>
            <a:ext cx="4655552" cy="2716489"/>
          </a:xfrm>
          <a:prstGeom prst="rect">
            <a:avLst/>
          </a:prstGeom>
        </p:spPr>
      </p:pic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14 denní počet nových případů (na 100 000 obyv.)</a:t>
            </a:r>
            <a:r>
              <a:rPr lang="en-US" dirty="0"/>
              <a:t> v </a:t>
            </a:r>
            <a:r>
              <a:rPr lang="cs-CZ" dirty="0"/>
              <a:t>okresech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/>
        </p:nvSpPr>
        <p:spPr>
          <a:xfrm>
            <a:off x="10334280" y="2954932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334280" y="3263658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334280" y="3572384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334280" y="3881110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334280" y="4189836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/>
        </p:nvSpPr>
        <p:spPr>
          <a:xfrm>
            <a:off x="10621662" y="2860266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/>
        </p:nvSpPr>
        <p:spPr>
          <a:xfrm>
            <a:off x="10621662" y="3171556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/>
        </p:nvSpPr>
        <p:spPr>
          <a:xfrm>
            <a:off x="10621662" y="3482846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/>
        </p:nvSpPr>
        <p:spPr>
          <a:xfrm>
            <a:off x="10621662" y="3794136"/>
            <a:ext cx="12682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/>
        </p:nvSpPr>
        <p:spPr>
          <a:xfrm>
            <a:off x="10621662" y="4105426"/>
            <a:ext cx="14398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1 1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334280" y="4498561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334280" y="4807285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/>
        </p:nvSpPr>
        <p:spPr>
          <a:xfrm>
            <a:off x="10621662" y="4416716"/>
            <a:ext cx="14398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1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/>
        </p:nvSpPr>
        <p:spPr>
          <a:xfrm>
            <a:off x="10621662" y="4728008"/>
            <a:ext cx="8755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extBox 29">
            <a:extLst>
              <a:ext uri="{FF2B5EF4-FFF2-40B4-BE49-F238E27FC236}">
                <a16:creationId xmlns:a16="http://schemas.microsoft.com/office/drawing/2014/main" id="{71B2EE80-8AF1-4ABB-B915-6D71863EF81B}"/>
              </a:ext>
            </a:extLst>
          </p:cNvPr>
          <p:cNvSpPr txBox="1"/>
          <p:nvPr/>
        </p:nvSpPr>
        <p:spPr>
          <a:xfrm>
            <a:off x="338540" y="745586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7.2.2021</a:t>
            </a:r>
          </a:p>
        </p:txBody>
      </p:sp>
      <p:sp>
        <p:nvSpPr>
          <p:cNvPr id="23" name="TextBox 29">
            <a:extLst>
              <a:ext uri="{FF2B5EF4-FFF2-40B4-BE49-F238E27FC236}">
                <a16:creationId xmlns:a16="http://schemas.microsoft.com/office/drawing/2014/main" id="{7E5978B8-B029-491D-8834-0081021D8198}"/>
              </a:ext>
            </a:extLst>
          </p:cNvPr>
          <p:cNvSpPr txBox="1"/>
          <p:nvPr/>
        </p:nvSpPr>
        <p:spPr>
          <a:xfrm>
            <a:off x="5541796" y="711033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.2021</a:t>
            </a:r>
          </a:p>
        </p:txBody>
      </p:sp>
      <p:sp>
        <p:nvSpPr>
          <p:cNvPr id="22" name="TextBox 29">
            <a:extLst>
              <a:ext uri="{FF2B5EF4-FFF2-40B4-BE49-F238E27FC236}">
                <a16:creationId xmlns:a16="http://schemas.microsoft.com/office/drawing/2014/main" id="{8E9F808D-BCC4-4C68-8429-DF3C9328D02D}"/>
              </a:ext>
            </a:extLst>
          </p:cNvPr>
          <p:cNvSpPr txBox="1"/>
          <p:nvPr/>
        </p:nvSpPr>
        <p:spPr>
          <a:xfrm>
            <a:off x="338540" y="3822821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.2.2021</a:t>
            </a:r>
          </a:p>
        </p:txBody>
      </p:sp>
      <p:sp>
        <p:nvSpPr>
          <p:cNvPr id="25" name="TextBox 29">
            <a:extLst>
              <a:ext uri="{FF2B5EF4-FFF2-40B4-BE49-F238E27FC236}">
                <a16:creationId xmlns:a16="http://schemas.microsoft.com/office/drawing/2014/main" id="{8FA9294E-F217-47EC-95E1-D6910A8512D7}"/>
              </a:ext>
            </a:extLst>
          </p:cNvPr>
          <p:cNvSpPr txBox="1"/>
          <p:nvPr/>
        </p:nvSpPr>
        <p:spPr>
          <a:xfrm>
            <a:off x="5480101" y="3822821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.2.2021</a:t>
            </a:r>
          </a:p>
        </p:txBody>
      </p:sp>
    </p:spTree>
    <p:extLst>
      <p:ext uri="{BB962C8B-B14F-4D97-AF65-F5344CB8AC3E}">
        <p14:creationId xmlns:p14="http://schemas.microsoft.com/office/powerpoint/2010/main" val="24753265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Map&#10;&#10;Description automatically generated">
            <a:extLst>
              <a:ext uri="{FF2B5EF4-FFF2-40B4-BE49-F238E27FC236}">
                <a16:creationId xmlns:a16="http://schemas.microsoft.com/office/drawing/2014/main" id="{EEEDC634-15F3-4556-99F2-C7818AD2557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36" r="10252"/>
          <a:stretch/>
        </p:blipFill>
        <p:spPr>
          <a:xfrm>
            <a:off x="4968449" y="971575"/>
            <a:ext cx="4383741" cy="2700000"/>
          </a:xfrm>
          <a:prstGeom prst="rect">
            <a:avLst/>
          </a:prstGeom>
        </p:spPr>
      </p:pic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14 denní počet nových případů (na 100 000 obyv.)</a:t>
            </a:r>
            <a:r>
              <a:rPr lang="en-US" dirty="0"/>
              <a:t> v </a:t>
            </a:r>
            <a:r>
              <a:rPr lang="cs-CZ" dirty="0"/>
              <a:t>okresech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/>
        </p:nvSpPr>
        <p:spPr>
          <a:xfrm>
            <a:off x="10334280" y="1115433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334280" y="1424159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334280" y="1732885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334280" y="2041611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334280" y="2350337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/>
        </p:nvSpPr>
        <p:spPr>
          <a:xfrm>
            <a:off x="10621662" y="1020767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/>
        </p:nvSpPr>
        <p:spPr>
          <a:xfrm>
            <a:off x="10621662" y="1332057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/>
        </p:nvSpPr>
        <p:spPr>
          <a:xfrm>
            <a:off x="10621662" y="1643347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/>
        </p:nvSpPr>
        <p:spPr>
          <a:xfrm>
            <a:off x="10621662" y="1954637"/>
            <a:ext cx="12682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/>
        </p:nvSpPr>
        <p:spPr>
          <a:xfrm>
            <a:off x="10621662" y="2265927"/>
            <a:ext cx="14398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1 1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334280" y="2659062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334280" y="2967786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/>
        </p:nvSpPr>
        <p:spPr>
          <a:xfrm>
            <a:off x="10621662" y="2577217"/>
            <a:ext cx="14398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1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/>
        </p:nvSpPr>
        <p:spPr>
          <a:xfrm>
            <a:off x="10621662" y="2888509"/>
            <a:ext cx="8755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extBox 29">
            <a:extLst>
              <a:ext uri="{FF2B5EF4-FFF2-40B4-BE49-F238E27FC236}">
                <a16:creationId xmlns:a16="http://schemas.microsoft.com/office/drawing/2014/main" id="{F227C6C6-8F5D-4F90-91A2-0D91244157B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84708" y="634298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69C7CCAD-EEFC-41BF-8789-B4C6787A7C4D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8" r="4385"/>
          <a:stretch/>
        </p:blipFill>
        <p:spPr>
          <a:xfrm>
            <a:off x="439225" y="1020767"/>
            <a:ext cx="4383741" cy="2700000"/>
          </a:xfrm>
          <a:prstGeom prst="rect">
            <a:avLst/>
          </a:prstGeom>
        </p:spPr>
      </p:pic>
      <p:sp>
        <p:nvSpPr>
          <p:cNvPr id="23" name="TextovéPole 22"/>
          <p:cNvSpPr txBox="1"/>
          <p:nvPr/>
        </p:nvSpPr>
        <p:spPr>
          <a:xfrm>
            <a:off x="228128" y="3713588"/>
            <a:ext cx="1159307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znamně zvýšené šíření nákazy postupně zasahuje více regionů, nově i na Moravě a Slezsku. Významné nárůsty registrujeme v Jihomoravském kraji a Olomouckém kraji. Postupné šíření lze dát do souvislosti s prokázaným výskytem nakažlivější formy viru, která postupně získává převahu nad předchozími variantami. Vysoké počty nakažených pacientů v původně nejvíce zasažených částech Čech nově stagnují nebo již začínají klesat, proto v celkových populačních přehledech registrujeme zpomalení růstu. Naopak riziko eskalovaného růstu hrozí ve většině okresů moravských regionů – zde je ale možné, že šíření nákazy zabrzdí nově přijatá opatření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ehled v současnosti nejvíce zatížených okresů obsahují následující tabulky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2" name="Šipka dolů 1"/>
          <p:cNvSpPr/>
          <p:nvPr>
            <p:custDataLst>
              <p:tags r:id="rId4"/>
            </p:custDataLst>
          </p:nvPr>
        </p:nvSpPr>
        <p:spPr>
          <a:xfrm>
            <a:off x="5433798" y="6400751"/>
            <a:ext cx="1181734" cy="43035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9">
            <a:extLst>
              <a:ext uri="{FF2B5EF4-FFF2-40B4-BE49-F238E27FC236}">
                <a16:creationId xmlns:a16="http://schemas.microsoft.com/office/drawing/2014/main" id="{23BF5462-9DFF-46BC-AA37-3D9AD4FFB4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383404" y="634298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</p:spTree>
    <p:extLst>
      <p:ext uri="{BB962C8B-B14F-4D97-AF65-F5344CB8AC3E}">
        <p14:creationId xmlns:p14="http://schemas.microsoft.com/office/powerpoint/2010/main" val="42201456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11442708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Nejvíce zatížené okresy dle nových případů za 14 dní na 100 000 obyvatel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9BC17B0-C8F5-41C1-9847-DD0FB903D5E5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30997" y="1514354"/>
          <a:ext cx="12060756" cy="5258404"/>
        </p:xfrm>
        <a:graphic>
          <a:graphicData uri="http://schemas.openxmlformats.org/drawingml/2006/table">
            <a:tbl>
              <a:tblPr/>
              <a:tblGrid>
                <a:gridCol w="3796932">
                  <a:extLst>
                    <a:ext uri="{9D8B030D-6E8A-4147-A177-3AD203B41FA5}">
                      <a16:colId xmlns:a16="http://schemas.microsoft.com/office/drawing/2014/main" val="2261931760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3118314659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3337288906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1115339334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3340841201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312716306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1246735359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1472909798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2276695565"/>
                    </a:ext>
                  </a:extLst>
                </a:gridCol>
              </a:tblGrid>
              <a:tr h="27805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kaz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cho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lí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-seve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mil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ycan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čí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atov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ymbur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8350231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za 7 dní na 100 000 obyvate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6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5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2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5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2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0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4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7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9947600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é případy za 14 dní na 100 000 obyvate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9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3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5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8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2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4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0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7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6226961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é případy 65+ za 7 dní na 100 000 obyvate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7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3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3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9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5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8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4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3958697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é případy 65+ za 14 dní na 100 000 obyvate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1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8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8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4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4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6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5989335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ktuálně hospitalizova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4826891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ktuálně hospitalizovaní na JIP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6115214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za 7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3749760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za 14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3976144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JIP za 7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9541588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ě hospitalizovaní na JIP za 14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2028875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úmrtí za 7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6252463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úmrtí za 14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1523000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testů za 7 dní s diagnostickou indikac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0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6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2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0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1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1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6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4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5284968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testů za 7 dní s epidemiologickou indikac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1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4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1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0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0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4062139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testů za 7 dní s preventivní indikac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6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4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21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6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6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91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8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4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4250697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lativní pozitivita testů s </a:t>
                      </a:r>
                      <a:r>
                        <a:rPr lang="cs-CZ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iagn</a:t>
                      </a:r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. indikací za 7 dní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7431147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lativní pozitivita testů s epidemiologickou indikací za 7 dní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7100007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lativní pozitivita testů s preventivní indikací za 7 dní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729945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42D96FE6-536C-4631-B0D7-337D6BC1CD7D}"/>
              </a:ext>
            </a:extLst>
          </p:cNvPr>
          <p:cNvSpPr/>
          <p:nvPr/>
        </p:nvSpPr>
        <p:spPr>
          <a:xfrm>
            <a:off x="2601284" y="753610"/>
            <a:ext cx="615462" cy="202223"/>
          </a:xfrm>
          <a:prstGeom prst="rect">
            <a:avLst/>
          </a:prstGeom>
          <a:solidFill>
            <a:srgbClr val="FF00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7C5C294-81E0-427F-B8B2-D281ED0E6D9A}"/>
              </a:ext>
            </a:extLst>
          </p:cNvPr>
          <p:cNvSpPr txBox="1"/>
          <p:nvPr/>
        </p:nvSpPr>
        <p:spPr>
          <a:xfrm>
            <a:off x="3216746" y="709728"/>
            <a:ext cx="62051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6 nejvíce zatížených okresů dle nových případů za 14 dní na 100 000 obyvatel </a:t>
            </a:r>
          </a:p>
        </p:txBody>
      </p:sp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38F0851A-AC24-4DEC-A6EA-36A2A8C8F62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58" r="11176"/>
          <a:stretch/>
        </p:blipFill>
        <p:spPr>
          <a:xfrm>
            <a:off x="381739" y="630791"/>
            <a:ext cx="1703294" cy="1079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6541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11442708" cy="576000"/>
          </a:xfrm>
        </p:spPr>
        <p:txBody>
          <a:bodyPr/>
          <a:lstStyle/>
          <a:p>
            <a:r>
              <a:rPr lang="cs-CZ" dirty="0"/>
              <a:t>Nejvíce zatížené okresy </a:t>
            </a:r>
            <a:r>
              <a:rPr lang="cs-CZ" dirty="0">
                <a:latin typeface="+mj-lt"/>
              </a:rPr>
              <a:t>dle nových případů za 14 dní na 100 000 obyvatel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9BC17B0-C8F5-41C1-9847-DD0FB903D5E5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30997" y="1514354"/>
          <a:ext cx="12060756" cy="5355633"/>
        </p:xfrm>
        <a:graphic>
          <a:graphicData uri="http://schemas.openxmlformats.org/drawingml/2006/table">
            <a:tbl>
              <a:tblPr/>
              <a:tblGrid>
                <a:gridCol w="3796932">
                  <a:extLst>
                    <a:ext uri="{9D8B030D-6E8A-4147-A177-3AD203B41FA5}">
                      <a16:colId xmlns:a16="http://schemas.microsoft.com/office/drawing/2014/main" val="2261931760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3118314659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3337288906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1115339334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3340841201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312716306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1246735359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1472909798"/>
                    </a:ext>
                  </a:extLst>
                </a:gridCol>
                <a:gridCol w="1032978">
                  <a:extLst>
                    <a:ext uri="{9D8B030D-6E8A-4147-A177-3AD203B41FA5}">
                      <a16:colId xmlns:a16="http://schemas.microsoft.com/office/drawing/2014/main" val="2276695565"/>
                    </a:ext>
                  </a:extLst>
                </a:gridCol>
              </a:tblGrid>
              <a:tr h="27805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kaz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kolo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-měst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-ji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lní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í nad Orli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blonec nad Nisou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á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ladá Bolesla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8350231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za 7 dní na 100 000 obyvate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9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2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0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3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1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5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5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5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9947600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za 14 dní na 100 000 obyvate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5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9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8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7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6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6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3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6226961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65+ za 7 dní na 100 000 obyvate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8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2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3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6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2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7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1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3958697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65+ za 14 dní na 100 000 obyvate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5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5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4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4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0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8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5989335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tuálně hospitalizova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4826891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tuálně hospitalizovaní na JIP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6115214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ě hospitalizovaní za 7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3749760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ě hospitalizovaní za 14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3976144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ě hospitalizovaní na JIP za 7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9541588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ě hospitalizovaní na JIP za 14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2028875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úmrtí za 7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6252463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úmrtí za 14 dn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1523000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testů za 7 dní s diagnostickou indikac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9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2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8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4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0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7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6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5284968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testů za 7 dní s epidemiologickou indikac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5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1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6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6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2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4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6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4062139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testů za 7 dní s preventivní indikací na 100 000 obyv.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7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47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90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42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88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2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13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7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4250697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lativní pozitivita testů s diagnostickou indikací za 7 dní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7431147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lativní pozitivita testů s epidemiologickou indikací za 7 dní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7100007"/>
                  </a:ext>
                </a:extLst>
              </a:tr>
              <a:tr h="2766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lativní pozitivita testů s preventivní indikací za 7 dní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729945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42D96FE6-536C-4631-B0D7-337D6BC1CD7D}"/>
              </a:ext>
            </a:extLst>
          </p:cNvPr>
          <p:cNvSpPr/>
          <p:nvPr/>
        </p:nvSpPr>
        <p:spPr>
          <a:xfrm>
            <a:off x="2601284" y="753610"/>
            <a:ext cx="615462" cy="202223"/>
          </a:xfrm>
          <a:prstGeom prst="rect">
            <a:avLst/>
          </a:prstGeom>
          <a:solidFill>
            <a:srgbClr val="FF00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7C5C294-81E0-427F-B8B2-D281ED0E6D9A}"/>
              </a:ext>
            </a:extLst>
          </p:cNvPr>
          <p:cNvSpPr txBox="1"/>
          <p:nvPr/>
        </p:nvSpPr>
        <p:spPr>
          <a:xfrm>
            <a:off x="3216746" y="709728"/>
            <a:ext cx="62051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6 nejvíce zatížených okresů dle nových případů za 14 dní na 100 000 obyvatel </a:t>
            </a:r>
          </a:p>
        </p:txBody>
      </p:sp>
      <p:pic>
        <p:nvPicPr>
          <p:cNvPr id="8" name="Picture 7" descr="Map&#10;&#10;Description automatically generated">
            <a:extLst>
              <a:ext uri="{FF2B5EF4-FFF2-40B4-BE49-F238E27FC236}">
                <a16:creationId xmlns:a16="http://schemas.microsoft.com/office/drawing/2014/main" id="{C1AD0541-149F-40BC-90ED-59DE0BF27BA0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58" r="11176"/>
          <a:stretch/>
        </p:blipFill>
        <p:spPr>
          <a:xfrm>
            <a:off x="381739" y="630791"/>
            <a:ext cx="1703294" cy="1079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9535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Graf 12">
            <a:extLst>
              <a:ext uri="{FF2B5EF4-FFF2-40B4-BE49-F238E27FC236}">
                <a16:creationId xmlns:a16="http://schemas.microsoft.com/office/drawing/2014/main" id="{D7A3B84F-6639-4915-AC44-63B8C67015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623657"/>
              </p:ext>
            </p:extLst>
          </p:nvPr>
        </p:nvGraphicFramePr>
        <p:xfrm>
          <a:off x="6254518" y="1955429"/>
          <a:ext cx="3115809" cy="4281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7F82D44D-4D15-4A3E-9F30-7DCB869E7E22}"/>
              </a:ext>
            </a:extLst>
          </p:cNvPr>
          <p:cNvCxnSpPr/>
          <p:nvPr/>
        </p:nvCxnSpPr>
        <p:spPr>
          <a:xfrm>
            <a:off x="7813448" y="2204335"/>
            <a:ext cx="0" cy="3888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>
            <a:extLst>
              <a:ext uri="{FF2B5EF4-FFF2-40B4-BE49-F238E27FC236}">
                <a16:creationId xmlns:a16="http://schemas.microsoft.com/office/drawing/2014/main" id="{990E0159-6700-4C79-9E79-4238DAF7F348}"/>
              </a:ext>
            </a:extLst>
          </p:cNvPr>
          <p:cNvSpPr txBox="1"/>
          <p:nvPr/>
        </p:nvSpPr>
        <p:spPr>
          <a:xfrm>
            <a:off x="6110474" y="1586096"/>
            <a:ext cx="34291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ference za posledních 7 dní</a:t>
            </a:r>
          </a:p>
        </p:txBody>
      </p:sp>
      <p:graphicFrame>
        <p:nvGraphicFramePr>
          <p:cNvPr id="14" name="Tabulka 11">
            <a:extLst>
              <a:ext uri="{FF2B5EF4-FFF2-40B4-BE49-F238E27FC236}">
                <a16:creationId xmlns:a16="http://schemas.microsoft.com/office/drawing/2014/main" id="{95FAB388-2E77-463A-A884-393092466C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1828062"/>
              </p:ext>
            </p:extLst>
          </p:nvPr>
        </p:nvGraphicFramePr>
        <p:xfrm>
          <a:off x="5222641" y="2259667"/>
          <a:ext cx="1337301" cy="38326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7301">
                  <a:extLst>
                    <a:ext uri="{9D8B030D-6E8A-4147-A177-3AD203B41FA5}">
                      <a16:colId xmlns:a16="http://schemas.microsoft.com/office/drawing/2014/main" val="3064028884"/>
                    </a:ext>
                  </a:extLst>
                </a:gridCol>
              </a:tblGrid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1963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29680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75718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472187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33475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50907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64554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6298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3809498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12229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667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77912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3088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85119"/>
                  </a:ext>
                </a:extLst>
              </a:tr>
            </a:tbl>
          </a:graphicData>
        </a:graphic>
      </p:graphicFrame>
      <p:sp>
        <p:nvSpPr>
          <p:cNvPr id="17" name="TextovéPole 16">
            <a:extLst>
              <a:ext uri="{FF2B5EF4-FFF2-40B4-BE49-F238E27FC236}">
                <a16:creationId xmlns:a16="http://schemas.microsoft.com/office/drawing/2014/main" id="{2FFFCA2B-FFDE-427C-8A58-BA118823CA59}"/>
              </a:ext>
            </a:extLst>
          </p:cNvPr>
          <p:cNvSpPr txBox="1"/>
          <p:nvPr/>
        </p:nvSpPr>
        <p:spPr>
          <a:xfrm>
            <a:off x="1696840" y="1550430"/>
            <a:ext cx="2069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ktuální hodnoty</a:t>
            </a:r>
          </a:p>
        </p:txBody>
      </p:sp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97DF336-95B2-40A5-B608-A8444018AD1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67556046"/>
              </p:ext>
            </p:extLst>
          </p:nvPr>
        </p:nvGraphicFramePr>
        <p:xfrm>
          <a:off x="1308735" y="1919763"/>
          <a:ext cx="3115809" cy="4281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Tabulka 11">
            <a:extLst>
              <a:ext uri="{FF2B5EF4-FFF2-40B4-BE49-F238E27FC236}">
                <a16:creationId xmlns:a16="http://schemas.microsoft.com/office/drawing/2014/main" id="{AEC007C7-4304-4C55-AE44-15AD7BCBC3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2946176"/>
              </p:ext>
            </p:extLst>
          </p:nvPr>
        </p:nvGraphicFramePr>
        <p:xfrm>
          <a:off x="44904" y="2224001"/>
          <a:ext cx="1337301" cy="38326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7301">
                  <a:extLst>
                    <a:ext uri="{9D8B030D-6E8A-4147-A177-3AD203B41FA5}">
                      <a16:colId xmlns:a16="http://schemas.microsoft.com/office/drawing/2014/main" val="3064028884"/>
                    </a:ext>
                  </a:extLst>
                </a:gridCol>
              </a:tblGrid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1963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29680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75718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472187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33475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50907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64554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6298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3809498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12229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667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77912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3088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85119"/>
                  </a:ext>
                </a:extLst>
              </a:tr>
            </a:tbl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n-lt"/>
              </a:rPr>
              <a:t>14denní incidence na 100 tisíc obyvatel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44F86700-D5B2-4E85-A67A-58512B3C1A7E}"/>
              </a:ext>
            </a:extLst>
          </p:cNvPr>
          <p:cNvSpPr txBox="1"/>
          <p:nvPr/>
        </p:nvSpPr>
        <p:spPr>
          <a:xfrm>
            <a:off x="345066" y="967666"/>
            <a:ext cx="60147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denní incidence na 100 tisíc obyvatel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9592914" y="5410338"/>
            <a:ext cx="26726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 smtClean="0"/>
              <a:t>Situace v HKK a KVK se začíná stabilizovat. </a:t>
            </a:r>
            <a:endParaRPr lang="cs-CZ" b="1" dirty="0"/>
          </a:p>
        </p:txBody>
      </p:sp>
      <p:sp>
        <p:nvSpPr>
          <p:cNvPr id="3" name="Šipka dolů 2"/>
          <p:cNvSpPr/>
          <p:nvPr/>
        </p:nvSpPr>
        <p:spPr>
          <a:xfrm rot="5400000">
            <a:off x="8957109" y="5459409"/>
            <a:ext cx="447539" cy="548188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600608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Graf 12">
            <a:extLst>
              <a:ext uri="{FF2B5EF4-FFF2-40B4-BE49-F238E27FC236}">
                <a16:creationId xmlns:a16="http://schemas.microsoft.com/office/drawing/2014/main" id="{D7A3B84F-6639-4915-AC44-63B8C67015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88838464"/>
              </p:ext>
            </p:extLst>
          </p:nvPr>
        </p:nvGraphicFramePr>
        <p:xfrm>
          <a:off x="6175394" y="1919763"/>
          <a:ext cx="3115809" cy="4281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7F82D44D-4D15-4A3E-9F30-7DCB869E7E22}"/>
              </a:ext>
            </a:extLst>
          </p:cNvPr>
          <p:cNvCxnSpPr/>
          <p:nvPr/>
        </p:nvCxnSpPr>
        <p:spPr>
          <a:xfrm>
            <a:off x="7734766" y="2168669"/>
            <a:ext cx="0" cy="3888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>
            <a:extLst>
              <a:ext uri="{FF2B5EF4-FFF2-40B4-BE49-F238E27FC236}">
                <a16:creationId xmlns:a16="http://schemas.microsoft.com/office/drawing/2014/main" id="{990E0159-6700-4C79-9E79-4238DAF7F348}"/>
              </a:ext>
            </a:extLst>
          </p:cNvPr>
          <p:cNvSpPr txBox="1"/>
          <p:nvPr/>
        </p:nvSpPr>
        <p:spPr>
          <a:xfrm>
            <a:off x="5635425" y="1550430"/>
            <a:ext cx="34291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ference za posledních 7 dní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59C1A6CA-1D15-4225-8203-51BFA04C92D3}"/>
              </a:ext>
            </a:extLst>
          </p:cNvPr>
          <p:cNvSpPr txBox="1"/>
          <p:nvPr/>
        </p:nvSpPr>
        <p:spPr>
          <a:xfrm>
            <a:off x="345066" y="967666"/>
            <a:ext cx="84770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denní incidence obyvatel 65+ na 100 tisíc obyvatel 65+</a:t>
            </a:r>
          </a:p>
        </p:txBody>
      </p:sp>
      <p:graphicFrame>
        <p:nvGraphicFramePr>
          <p:cNvPr id="14" name="Tabulka 11">
            <a:extLst>
              <a:ext uri="{FF2B5EF4-FFF2-40B4-BE49-F238E27FC236}">
                <a16:creationId xmlns:a16="http://schemas.microsoft.com/office/drawing/2014/main" id="{95FAB388-2E77-463A-A884-393092466C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1654009"/>
              </p:ext>
            </p:extLst>
          </p:nvPr>
        </p:nvGraphicFramePr>
        <p:xfrm>
          <a:off x="5689356" y="2224001"/>
          <a:ext cx="1337301" cy="38326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7301">
                  <a:extLst>
                    <a:ext uri="{9D8B030D-6E8A-4147-A177-3AD203B41FA5}">
                      <a16:colId xmlns:a16="http://schemas.microsoft.com/office/drawing/2014/main" val="3064028884"/>
                    </a:ext>
                  </a:extLst>
                </a:gridCol>
              </a:tblGrid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1963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29680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75718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472187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33475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50907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64554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6298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3809498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12229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667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77912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3088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85119"/>
                  </a:ext>
                </a:extLst>
              </a:tr>
            </a:tbl>
          </a:graphicData>
        </a:graphic>
      </p:graphicFrame>
      <p:sp>
        <p:nvSpPr>
          <p:cNvPr id="17" name="TextovéPole 16">
            <a:extLst>
              <a:ext uri="{FF2B5EF4-FFF2-40B4-BE49-F238E27FC236}">
                <a16:creationId xmlns:a16="http://schemas.microsoft.com/office/drawing/2014/main" id="{2FFFCA2B-FFDE-427C-8A58-BA118823CA59}"/>
              </a:ext>
            </a:extLst>
          </p:cNvPr>
          <p:cNvSpPr txBox="1"/>
          <p:nvPr/>
        </p:nvSpPr>
        <p:spPr>
          <a:xfrm>
            <a:off x="1696840" y="1550430"/>
            <a:ext cx="2069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ktuální hodnoty</a:t>
            </a:r>
          </a:p>
        </p:txBody>
      </p:sp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97DF336-95B2-40A5-B608-A8444018AD1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3875947"/>
              </p:ext>
            </p:extLst>
          </p:nvPr>
        </p:nvGraphicFramePr>
        <p:xfrm>
          <a:off x="1308735" y="1919763"/>
          <a:ext cx="3115809" cy="4281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Tabulka 11">
            <a:extLst>
              <a:ext uri="{FF2B5EF4-FFF2-40B4-BE49-F238E27FC236}">
                <a16:creationId xmlns:a16="http://schemas.microsoft.com/office/drawing/2014/main" id="{AEC007C7-4304-4C55-AE44-15AD7BCBC3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2822584"/>
              </p:ext>
            </p:extLst>
          </p:nvPr>
        </p:nvGraphicFramePr>
        <p:xfrm>
          <a:off x="44904" y="2217836"/>
          <a:ext cx="1337301" cy="38326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7301">
                  <a:extLst>
                    <a:ext uri="{9D8B030D-6E8A-4147-A177-3AD203B41FA5}">
                      <a16:colId xmlns:a16="http://schemas.microsoft.com/office/drawing/2014/main" val="3064028884"/>
                    </a:ext>
                  </a:extLst>
                </a:gridCol>
              </a:tblGrid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1963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29680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75718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472187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33475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50907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64554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6298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3809498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12229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667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77912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3088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85119"/>
                  </a:ext>
                </a:extLst>
              </a:tr>
            </a:tbl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14denní incidence 65+ na 100 tisíc obyvatel 65+</a:t>
            </a:r>
          </a:p>
        </p:txBody>
      </p:sp>
      <p:sp>
        <p:nvSpPr>
          <p:cNvPr id="15" name="TextovéPole 14"/>
          <p:cNvSpPr txBox="1"/>
          <p:nvPr/>
        </p:nvSpPr>
        <p:spPr>
          <a:xfrm>
            <a:off x="9592914" y="5410338"/>
            <a:ext cx="26726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 smtClean="0"/>
              <a:t>Situace v HKK a KVK se začíná stabilizovat. </a:t>
            </a:r>
            <a:endParaRPr lang="cs-CZ" b="1" dirty="0"/>
          </a:p>
        </p:txBody>
      </p:sp>
      <p:sp>
        <p:nvSpPr>
          <p:cNvPr id="16" name="Šipka dolů 15"/>
          <p:cNvSpPr/>
          <p:nvPr/>
        </p:nvSpPr>
        <p:spPr>
          <a:xfrm rot="5400000">
            <a:off x="9053146" y="5459409"/>
            <a:ext cx="476114" cy="548188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020533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642" y="3931234"/>
            <a:ext cx="11905307" cy="1974265"/>
          </a:xfrm>
        </p:spPr>
        <p:txBody>
          <a:bodyPr>
            <a:normAutofit/>
          </a:bodyPr>
          <a:lstStyle/>
          <a:p>
            <a:r>
              <a:rPr lang="cs-CZ" sz="5400" b="1" dirty="0"/>
              <a:t>Rizikový vývoj epidemie </a:t>
            </a:r>
            <a:r>
              <a:rPr lang="cs-CZ" sz="5400" b="1" dirty="0" smtClean="0"/>
              <a:t>stále nevyhnutelně </a:t>
            </a:r>
            <a:r>
              <a:rPr lang="cs-CZ" sz="5400" b="1" dirty="0"/>
              <a:t>navyšuje zátěž nemocnic</a:t>
            </a:r>
          </a:p>
        </p:txBody>
      </p:sp>
    </p:spTree>
    <p:extLst>
      <p:ext uri="{BB962C8B-B14F-4D97-AF65-F5344CB8AC3E}">
        <p14:creationId xmlns:p14="http://schemas.microsoft.com/office/powerpoint/2010/main" val="10854946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335591" y="2903422"/>
            <a:ext cx="11434618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téměř všech regionech ČR zátěž nemocnic významně přesahuje maxima z podzimu 2020 a zátěž intenzivní péče setrvale narůstá. </a:t>
            </a:r>
            <a:endParaRPr kumimoji="0" lang="cs-CZ" sz="34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é trendy jsou důsledkem postupujícího šíření nakažlivější formy viru a zasahují postupně většinu regionů. </a:t>
            </a:r>
          </a:p>
        </p:txBody>
      </p:sp>
      <p:sp>
        <p:nvSpPr>
          <p:cNvPr id="3" name="Šipka dolů 2"/>
          <p:cNvSpPr/>
          <p:nvPr/>
        </p:nvSpPr>
        <p:spPr>
          <a:xfrm>
            <a:off x="5277046" y="2039540"/>
            <a:ext cx="1551709" cy="49723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152435" y="165648"/>
            <a:ext cx="1180093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časný stav epidemie je </a:t>
            </a:r>
            <a:r>
              <a:rPr kumimoji="0" lang="cs-CZ" sz="44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ále</a:t>
            </a:r>
            <a:r>
              <a:rPr kumimoji="0" lang="cs-CZ" sz="4400" b="1" i="0" u="sng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44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lmi </a:t>
            </a:r>
            <a:r>
              <a:rPr kumimoji="0" lang="cs-CZ" sz="4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ejména z hlediska zátěže nemocniční péče </a:t>
            </a:r>
            <a:endParaRPr kumimoji="0" lang="cs-CZ" sz="44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57117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ovéPole 20"/>
          <p:cNvSpPr txBox="1"/>
          <p:nvPr/>
        </p:nvSpPr>
        <p:spPr>
          <a:xfrm>
            <a:off x="432105" y="33126"/>
            <a:ext cx="11344275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Stále narůstající</a:t>
            </a: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 počet denně nově nakažených potenciálně zranitelných pacientů zvyšuje riziko zátěže nemocnic </a:t>
            </a:r>
            <a:endParaRPr kumimoji="0" lang="cs-CZ" sz="3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3C7B102-51CF-40DA-86E3-19AB93DE7FE7}"/>
              </a:ext>
            </a:extLst>
          </p:cNvPr>
          <p:cNvSpPr txBox="1"/>
          <p:nvPr/>
        </p:nvSpPr>
        <p:spPr>
          <a:xfrm>
            <a:off x="863610" y="2261850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65+ let</a:t>
            </a:r>
          </a:p>
        </p:txBody>
      </p:sp>
      <p:graphicFrame>
        <p:nvGraphicFramePr>
          <p:cNvPr id="35" name="Tabulka 3">
            <a:extLst>
              <a:ext uri="{FF2B5EF4-FFF2-40B4-BE49-F238E27FC236}">
                <a16:creationId xmlns:a16="http://schemas.microsoft.com/office/drawing/2014/main" id="{A3693099-23CE-4447-AC61-AFCE59524C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8625711"/>
              </p:ext>
            </p:extLst>
          </p:nvPr>
        </p:nvGraphicFramePr>
        <p:xfrm>
          <a:off x="4780229" y="1318755"/>
          <a:ext cx="6406083" cy="2072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82702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223381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800" b="1" u="sng" dirty="0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65+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800" b="1" dirty="0">
                          <a:solidFill>
                            <a:srgbClr val="C00000"/>
                          </a:solidFill>
                          <a:latin typeface="+mn-lt"/>
                        </a:rPr>
                        <a:t>Za uplynulé 3 dny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3 82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800" b="1" dirty="0">
                          <a:solidFill>
                            <a:srgbClr val="C00000"/>
                          </a:solidFill>
                          <a:latin typeface="+mn-lt"/>
                        </a:rPr>
                        <a:t>Za uplynulých 7 dní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12 30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800" b="1" dirty="0">
                          <a:solidFill>
                            <a:srgbClr val="C00000"/>
                          </a:solidFill>
                          <a:latin typeface="+mn-lt"/>
                        </a:rPr>
                        <a:t>Za uplynulých 14 dní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23 80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graphicFrame>
        <p:nvGraphicFramePr>
          <p:cNvPr id="7" name="Chart 4">
            <a:extLst>
              <a:ext uri="{FF2B5EF4-FFF2-40B4-BE49-F238E27FC236}">
                <a16:creationId xmlns:a16="http://schemas.microsoft.com/office/drawing/2014/main" id="{08BC59A9-FEBF-48E7-BE01-130C7422F8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74293672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3805068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3D48422-1472-2B43-AFF4-50C66979E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325" y="365125"/>
            <a:ext cx="11490037" cy="1325563"/>
          </a:xfrm>
        </p:spPr>
        <p:txBody>
          <a:bodyPr>
            <a:noAutofit/>
          </a:bodyPr>
          <a:lstStyle/>
          <a:p>
            <a:pPr algn="ctr"/>
            <a:r>
              <a:rPr lang="en-CZ" sz="3400" b="1" dirty="0"/>
              <a:t/>
            </a:r>
            <a:br>
              <a:rPr lang="en-CZ" sz="3400" b="1" dirty="0"/>
            </a:br>
            <a:r>
              <a:rPr lang="en-CZ" sz="3400" b="1" dirty="0">
                <a:latin typeface="+mn-lt"/>
              </a:rPr>
              <a:t>Aktuální </a:t>
            </a:r>
            <a:r>
              <a:rPr lang="cs-CZ" sz="3400" b="1" dirty="0">
                <a:latin typeface="+mn-lt"/>
              </a:rPr>
              <a:t>počty </a:t>
            </a:r>
            <a:r>
              <a:rPr lang="en-CZ" sz="3400" b="1" dirty="0">
                <a:latin typeface="+mn-lt"/>
              </a:rPr>
              <a:t>hospitalizovaných</a:t>
            </a:r>
            <a:r>
              <a:rPr lang="cs-CZ" sz="3400" b="1" dirty="0">
                <a:latin typeface="+mn-lt"/>
              </a:rPr>
              <a:t> pacientů jsou extrémní</a:t>
            </a:r>
            <a:br>
              <a:rPr lang="cs-CZ" sz="3400" b="1" dirty="0">
                <a:latin typeface="+mn-lt"/>
              </a:rPr>
            </a:br>
            <a:r>
              <a:rPr lang="cs-CZ" sz="3400" b="1" dirty="0">
                <a:latin typeface="+mn-lt"/>
              </a:rPr>
              <a:t>a zejména v segmentu vysoce intenzivní péče začínají v nejvíce zatížených regionech limitně vyčerpávat dostupné kapacity. </a:t>
            </a:r>
            <a:r>
              <a:rPr lang="en-CZ" sz="3400" b="1" dirty="0"/>
              <a:t/>
            </a:r>
            <a:br>
              <a:rPr lang="en-CZ" sz="3400" b="1" dirty="0"/>
            </a:br>
            <a:endParaRPr lang="en-CZ" sz="3400" b="1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6AA7CEA-DA9D-FB48-ACE8-2C23380168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924753"/>
            <a:ext cx="10515600" cy="3448339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GB" sz="5700" dirty="0"/>
              <a:t>C</a:t>
            </a:r>
            <a:r>
              <a:rPr lang="en-CZ" sz="5700" dirty="0"/>
              <a:t>elkem v nemocnici: 		</a:t>
            </a:r>
            <a:r>
              <a:rPr lang="cs-CZ" sz="5700" b="1" dirty="0" smtClean="0">
                <a:solidFill>
                  <a:srgbClr val="FF0000"/>
                </a:solidFill>
              </a:rPr>
              <a:t>8 675</a:t>
            </a:r>
            <a:r>
              <a:rPr lang="en-CZ" sz="5700" dirty="0" smtClean="0">
                <a:solidFill>
                  <a:srgbClr val="FF0000"/>
                </a:solidFill>
              </a:rPr>
              <a:t>↑</a:t>
            </a:r>
            <a:endParaRPr lang="en-CZ" sz="5700" dirty="0"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en-CZ" sz="5700" dirty="0"/>
              <a:t>Z toho JIP:					</a:t>
            </a:r>
            <a:r>
              <a:rPr lang="en-CZ" sz="5700" dirty="0">
                <a:solidFill>
                  <a:srgbClr val="FF0000"/>
                </a:solidFill>
              </a:rPr>
              <a:t>1 </a:t>
            </a:r>
            <a:r>
              <a:rPr lang="cs-CZ" sz="5700" dirty="0" smtClean="0">
                <a:solidFill>
                  <a:srgbClr val="FF0000"/>
                </a:solidFill>
              </a:rPr>
              <a:t>804</a:t>
            </a:r>
            <a:r>
              <a:rPr lang="en-CZ" sz="5700" dirty="0" smtClean="0">
                <a:solidFill>
                  <a:srgbClr val="FF0000"/>
                </a:solidFill>
              </a:rPr>
              <a:t>↑</a:t>
            </a:r>
            <a:endParaRPr lang="en-CZ" sz="5700" dirty="0"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en-CZ" sz="5700" dirty="0"/>
              <a:t>Z toho UPV: 				 	</a:t>
            </a:r>
            <a:r>
              <a:rPr lang="cs-CZ" sz="5700" dirty="0" smtClean="0">
                <a:solidFill>
                  <a:srgbClr val="FF0000"/>
                </a:solidFill>
              </a:rPr>
              <a:t>889</a:t>
            </a:r>
            <a:r>
              <a:rPr lang="en-CZ" sz="5700" dirty="0" smtClean="0">
                <a:solidFill>
                  <a:srgbClr val="FF0000"/>
                </a:solidFill>
              </a:rPr>
              <a:t>↑        </a:t>
            </a:r>
            <a:endParaRPr lang="en-CZ" sz="5700" dirty="0">
              <a:solidFill>
                <a:srgbClr val="FF0000"/>
              </a:solidFill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en-CZ" sz="5700" dirty="0"/>
              <a:t>Z toho ECMO:				</a:t>
            </a:r>
            <a:r>
              <a:rPr lang="cs-CZ" sz="5700" dirty="0" smtClean="0">
                <a:solidFill>
                  <a:srgbClr val="FF0000"/>
                </a:solidFill>
              </a:rPr>
              <a:t>29</a:t>
            </a:r>
            <a:r>
              <a:rPr lang="en-CZ" sz="5700" dirty="0" smtClean="0">
                <a:solidFill>
                  <a:srgbClr val="FF0000"/>
                </a:solidFill>
              </a:rPr>
              <a:t>↑  </a:t>
            </a:r>
            <a:endParaRPr lang="en-CZ" sz="4700" i="1" dirty="0"/>
          </a:p>
        </p:txBody>
      </p:sp>
      <p:sp>
        <p:nvSpPr>
          <p:cNvPr id="2" name="Šipka dolů 1"/>
          <p:cNvSpPr/>
          <p:nvPr/>
        </p:nvSpPr>
        <p:spPr>
          <a:xfrm>
            <a:off x="5329381" y="1915175"/>
            <a:ext cx="1403927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ovéPole 2"/>
          <p:cNvSpPr txBox="1"/>
          <p:nvPr/>
        </p:nvSpPr>
        <p:spPr>
          <a:xfrm>
            <a:off x="7761721" y="2307720"/>
            <a:ext cx="2948709" cy="46166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>
                <a:solidFill>
                  <a:schemeClr val="bg1"/>
                </a:solidFill>
              </a:rPr>
              <a:t>Stav k </a:t>
            </a:r>
            <a:r>
              <a:rPr lang="cs-CZ" sz="2400" b="1" dirty="0" smtClean="0">
                <a:solidFill>
                  <a:schemeClr val="bg1"/>
                </a:solidFill>
              </a:rPr>
              <a:t>12.3</a:t>
            </a:r>
            <a:r>
              <a:rPr lang="cs-CZ" sz="2400" b="1" dirty="0">
                <a:solidFill>
                  <a:schemeClr val="bg1"/>
                </a:solidFill>
              </a:rPr>
              <a:t>. 2021</a:t>
            </a:r>
            <a:endParaRPr 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68871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extovéPole 73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348532" y="422200"/>
            <a:ext cx="1149493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rostou</a:t>
            </a: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3868586A-AAD8-433B-843C-11354C94801B}"/>
              </a:ext>
            </a:extLst>
          </p:cNvPr>
          <p:cNvSpPr txBox="1"/>
          <p:nvPr/>
        </p:nvSpPr>
        <p:spPr>
          <a:xfrm>
            <a:off x="9648302" y="2191639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6922F92F-13FB-4C52-85E4-2EBF3611742A}"/>
              </a:ext>
            </a:extLst>
          </p:cNvPr>
          <p:cNvSpPr txBox="1"/>
          <p:nvPr/>
        </p:nvSpPr>
        <p:spPr>
          <a:xfrm>
            <a:off x="3612493" y="2171998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FF7F9C22-043E-4D3D-A0DB-7024900F3A07}"/>
              </a:ext>
            </a:extLst>
          </p:cNvPr>
          <p:cNvSpPr txBox="1"/>
          <p:nvPr/>
        </p:nvSpPr>
        <p:spPr>
          <a:xfrm>
            <a:off x="5685899" y="2171998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8E156DD9-6195-4438-9505-62925A54696F}"/>
              </a:ext>
            </a:extLst>
          </p:cNvPr>
          <p:cNvSpPr txBox="1"/>
          <p:nvPr/>
        </p:nvSpPr>
        <p:spPr>
          <a:xfrm>
            <a:off x="7664243" y="2171998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DF891691-1224-42B8-996A-3730A083A952}"/>
              </a:ext>
            </a:extLst>
          </p:cNvPr>
          <p:cNvSpPr txBox="1"/>
          <p:nvPr/>
        </p:nvSpPr>
        <p:spPr>
          <a:xfrm>
            <a:off x="1623365" y="2171998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5" name="Chart 4">
            <a:extLst>
              <a:ext uri="{FF2B5EF4-FFF2-40B4-BE49-F238E27FC236}">
                <a16:creationId xmlns:a16="http://schemas.microsoft.com/office/drawing/2014/main" id="{63824D66-F4E4-4EB2-AC0D-BA3C2C165743}"/>
              </a:ext>
            </a:extLst>
          </p:cNvPr>
          <p:cNvGraphicFramePr/>
          <p:nvPr>
            <p:extLst/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6" name="Zahnutá šipka nahoru 25">
            <a:extLst>
              <a:ext uri="{FF2B5EF4-FFF2-40B4-BE49-F238E27FC236}">
                <a16:creationId xmlns:a16="http://schemas.microsoft.com/office/drawing/2014/main" id="{E72EB1C7-52D9-483C-9951-C57F37F7CAC0}"/>
              </a:ext>
            </a:extLst>
          </p:cNvPr>
          <p:cNvSpPr/>
          <p:nvPr/>
        </p:nvSpPr>
        <p:spPr>
          <a:xfrm>
            <a:off x="3008871" y="2261624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Zahnutá šipka nahoru 25">
            <a:extLst>
              <a:ext uri="{FF2B5EF4-FFF2-40B4-BE49-F238E27FC236}">
                <a16:creationId xmlns:a16="http://schemas.microsoft.com/office/drawing/2014/main" id="{7FF9BA3D-7D48-48D4-AFCE-C430479AA62E}"/>
              </a:ext>
            </a:extLst>
          </p:cNvPr>
          <p:cNvSpPr/>
          <p:nvPr/>
        </p:nvSpPr>
        <p:spPr>
          <a:xfrm>
            <a:off x="5079481" y="2261624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Zahnutá šipka nahoru 25">
            <a:extLst>
              <a:ext uri="{FF2B5EF4-FFF2-40B4-BE49-F238E27FC236}">
                <a16:creationId xmlns:a16="http://schemas.microsoft.com/office/drawing/2014/main" id="{C8B176A8-7FDE-4E09-8628-B179DD18EC83}"/>
              </a:ext>
            </a:extLst>
          </p:cNvPr>
          <p:cNvSpPr/>
          <p:nvPr/>
        </p:nvSpPr>
        <p:spPr>
          <a:xfrm>
            <a:off x="7132339" y="2261624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Zahnutá šipka nahoru 25">
            <a:extLst>
              <a:ext uri="{FF2B5EF4-FFF2-40B4-BE49-F238E27FC236}">
                <a16:creationId xmlns:a16="http://schemas.microsoft.com/office/drawing/2014/main" id="{7818E18D-7F88-4D5A-9278-75223341FCA2}"/>
              </a:ext>
            </a:extLst>
          </p:cNvPr>
          <p:cNvSpPr/>
          <p:nvPr/>
        </p:nvSpPr>
        <p:spPr>
          <a:xfrm>
            <a:off x="9165560" y="2261711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Zahnutá šipka nahoru 25">
            <a:extLst>
              <a:ext uri="{FF2B5EF4-FFF2-40B4-BE49-F238E27FC236}">
                <a16:creationId xmlns:a16="http://schemas.microsoft.com/office/drawing/2014/main" id="{15FCE7E0-DF80-490B-906A-F26512D7AFD0}"/>
              </a:ext>
            </a:extLst>
          </p:cNvPr>
          <p:cNvSpPr/>
          <p:nvPr/>
        </p:nvSpPr>
        <p:spPr>
          <a:xfrm>
            <a:off x="901603" y="2261624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1" name="Tabulka 4">
            <a:extLst>
              <a:ext uri="{FF2B5EF4-FFF2-40B4-BE49-F238E27FC236}">
                <a16:creationId xmlns:a16="http://schemas.microsoft.com/office/drawing/2014/main" id="{213D6681-00D7-4D06-B4B1-53A7002B629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79059" y="1819596"/>
          <a:ext cx="11880000" cy="3820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0000">
                  <a:extLst>
                    <a:ext uri="{9D8B030D-6E8A-4147-A177-3AD203B41FA5}">
                      <a16:colId xmlns:a16="http://schemas.microsoft.com/office/drawing/2014/main" val="3261913761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3754285602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2764063676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544989849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1380738768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435925568"/>
                    </a:ext>
                  </a:extLst>
                </a:gridCol>
              </a:tblGrid>
              <a:tr h="38206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49 hospitalizací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4 hospitalizací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2 hospitalizací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9 hospitalizací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4 hospitalizací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21 hospitalizací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6859167"/>
                  </a:ext>
                </a:extLst>
              </a:tr>
            </a:tbl>
          </a:graphicData>
        </a:graphic>
      </p:graphicFrame>
      <p:sp>
        <p:nvSpPr>
          <p:cNvPr id="42" name="Šipka doprava 58">
            <a:extLst>
              <a:ext uri="{FF2B5EF4-FFF2-40B4-BE49-F238E27FC236}">
                <a16:creationId xmlns:a16="http://schemas.microsoft.com/office/drawing/2014/main" id="{B96E5C63-12B4-4321-B202-EC7A772D6AB0}"/>
              </a:ext>
            </a:extLst>
          </p:cNvPr>
          <p:cNvSpPr/>
          <p:nvPr/>
        </p:nvSpPr>
        <p:spPr>
          <a:xfrm rot="20503466" flipV="1">
            <a:off x="11073664" y="3392829"/>
            <a:ext cx="521883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3" name="Tabulka 6">
            <a:extLst>
              <a:ext uri="{FF2B5EF4-FFF2-40B4-BE49-F238E27FC236}">
                <a16:creationId xmlns:a16="http://schemas.microsoft.com/office/drawing/2014/main" id="{BEE1F555-6CED-40EF-89C1-2702EABF676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319572" y="2154387"/>
          <a:ext cx="9481821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8000">
                  <a:extLst>
                    <a:ext uri="{9D8B030D-6E8A-4147-A177-3AD203B41FA5}">
                      <a16:colId xmlns:a16="http://schemas.microsoft.com/office/drawing/2014/main" val="4256108201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109467333"/>
                    </a:ext>
                  </a:extLst>
                </a:gridCol>
                <a:gridCol w="1394394">
                  <a:extLst>
                    <a:ext uri="{9D8B030D-6E8A-4147-A177-3AD203B41FA5}">
                      <a16:colId xmlns:a16="http://schemas.microsoft.com/office/drawing/2014/main" val="2436049300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390204682"/>
                    </a:ext>
                  </a:extLst>
                </a:gridCol>
                <a:gridCol w="1411809">
                  <a:extLst>
                    <a:ext uri="{9D8B030D-6E8A-4147-A177-3AD203B41FA5}">
                      <a16:colId xmlns:a16="http://schemas.microsoft.com/office/drawing/2014/main" val="3269273156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1376497500"/>
                    </a:ext>
                  </a:extLst>
                </a:gridCol>
                <a:gridCol w="1411809">
                  <a:extLst>
                    <a:ext uri="{9D8B030D-6E8A-4147-A177-3AD203B41FA5}">
                      <a16:colId xmlns:a16="http://schemas.microsoft.com/office/drawing/2014/main" val="1556511901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116966130"/>
                    </a:ext>
                  </a:extLst>
                </a:gridCol>
                <a:gridCol w="1411809">
                  <a:extLst>
                    <a:ext uri="{9D8B030D-6E8A-4147-A177-3AD203B41FA5}">
                      <a16:colId xmlns:a16="http://schemas.microsoft.com/office/drawing/2014/main" val="191361939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4,3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5,3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4,4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5,6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2,9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0114"/>
                  </a:ext>
                </a:extLst>
              </a:tr>
            </a:tbl>
          </a:graphicData>
        </a:graphic>
      </p:graphicFrame>
      <p:sp>
        <p:nvSpPr>
          <p:cNvPr id="44" name="TextovéPole 43">
            <a:extLst>
              <a:ext uri="{FF2B5EF4-FFF2-40B4-BE49-F238E27FC236}">
                <a16:creationId xmlns:a16="http://schemas.microsoft.com/office/drawing/2014/main" id="{E45CAC86-B37B-4A27-9D87-6F97A4E08920}"/>
              </a:ext>
            </a:extLst>
          </p:cNvPr>
          <p:cNvSpPr txBox="1"/>
          <p:nvPr/>
        </p:nvSpPr>
        <p:spPr>
          <a:xfrm>
            <a:off x="181394" y="1228562"/>
            <a:ext cx="1962823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sta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8. 1.–3. 2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5" name="TextovéPole 44">
            <a:extLst>
              <a:ext uri="{FF2B5EF4-FFF2-40B4-BE49-F238E27FC236}">
                <a16:creationId xmlns:a16="http://schemas.microsoft.com/office/drawing/2014/main" id="{F22D28B2-D057-493B-AD1C-DE77AB38DC4A}"/>
              </a:ext>
            </a:extLst>
          </p:cNvPr>
          <p:cNvSpPr txBox="1"/>
          <p:nvPr/>
        </p:nvSpPr>
        <p:spPr>
          <a:xfrm>
            <a:off x="2232994" y="1228562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sta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. 2.–10. 2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FC1C5311-3B34-435A-AB2E-7C8EEC1F7B74}"/>
              </a:ext>
            </a:extLst>
          </p:cNvPr>
          <p:cNvSpPr txBox="1"/>
          <p:nvPr/>
        </p:nvSpPr>
        <p:spPr>
          <a:xfrm>
            <a:off x="4200118" y="1222303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sta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1. 2.–17. 2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B755D4D7-E038-468F-8485-A06F8A1B8849}"/>
              </a:ext>
            </a:extLst>
          </p:cNvPr>
          <p:cNvSpPr txBox="1"/>
          <p:nvPr/>
        </p:nvSpPr>
        <p:spPr>
          <a:xfrm>
            <a:off x="6164255" y="1222303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sta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8. 2.–24. 2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A4BE5CCB-867B-4994-A609-930AC1D6B105}"/>
              </a:ext>
            </a:extLst>
          </p:cNvPr>
          <p:cNvSpPr txBox="1"/>
          <p:nvPr/>
        </p:nvSpPr>
        <p:spPr>
          <a:xfrm>
            <a:off x="8144612" y="1221894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sta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5. 2.–3. 3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26C3D380-BF74-4244-AB84-F844472B3C0E}"/>
              </a:ext>
            </a:extLst>
          </p:cNvPr>
          <p:cNvSpPr txBox="1"/>
          <p:nvPr/>
        </p:nvSpPr>
        <p:spPr>
          <a:xfrm>
            <a:off x="10108749" y="1234219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sta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. 3.–10. 3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3" name="Obdélník 62">
            <a:extLst>
              <a:ext uri="{FF2B5EF4-FFF2-40B4-BE49-F238E27FC236}">
                <a16:creationId xmlns:a16="http://schemas.microsoft.com/office/drawing/2014/main" id="{FDBA1293-AE85-453A-855F-FDF2F8E2591C}"/>
              </a:ext>
            </a:extLst>
          </p:cNvPr>
          <p:cNvSpPr/>
          <p:nvPr/>
        </p:nvSpPr>
        <p:spPr>
          <a:xfrm>
            <a:off x="901603" y="3333352"/>
            <a:ext cx="2808253" cy="400110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spitalizace JIP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91469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ovéPole 67">
            <a:extLst>
              <a:ext uri="{FF2B5EF4-FFF2-40B4-BE49-F238E27FC236}">
                <a16:creationId xmlns:a16="http://schemas.microsoft.com/office/drawing/2014/main" id="{CB3AC5FA-01F8-4262-A1CC-2973AECAA4C7}"/>
              </a:ext>
            </a:extLst>
          </p:cNvPr>
          <p:cNvSpPr txBox="1"/>
          <p:nvPr/>
        </p:nvSpPr>
        <p:spPr>
          <a:xfrm>
            <a:off x="220610" y="400157"/>
            <a:ext cx="1175078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s UPV+ECMO rostou</a:t>
            </a:r>
          </a:p>
        </p:txBody>
      </p: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9D4CC31E-E332-4FE4-8E57-0AD6F31447D4}"/>
              </a:ext>
            </a:extLst>
          </p:cNvPr>
          <p:cNvGraphicFramePr/>
          <p:nvPr>
            <p:extLst/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5" name="TextovéPole 24">
            <a:extLst>
              <a:ext uri="{FF2B5EF4-FFF2-40B4-BE49-F238E27FC236}">
                <a16:creationId xmlns:a16="http://schemas.microsoft.com/office/drawing/2014/main" id="{70B2B3DF-1C98-460D-AE0A-516401941FB2}"/>
              </a:ext>
            </a:extLst>
          </p:cNvPr>
          <p:cNvSpPr txBox="1"/>
          <p:nvPr/>
        </p:nvSpPr>
        <p:spPr>
          <a:xfrm>
            <a:off x="9648302" y="2191639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22377B60-1A96-4B62-9AE9-319A39B66D1A}"/>
              </a:ext>
            </a:extLst>
          </p:cNvPr>
          <p:cNvSpPr txBox="1"/>
          <p:nvPr/>
        </p:nvSpPr>
        <p:spPr>
          <a:xfrm>
            <a:off x="3612493" y="2171998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9ADDEEA8-DEE6-4910-BA1C-25EACB055EFF}"/>
              </a:ext>
            </a:extLst>
          </p:cNvPr>
          <p:cNvSpPr txBox="1"/>
          <p:nvPr/>
        </p:nvSpPr>
        <p:spPr>
          <a:xfrm>
            <a:off x="5685899" y="2171998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C8064B17-58ED-4355-BF61-44DAAD8973D7}"/>
              </a:ext>
            </a:extLst>
          </p:cNvPr>
          <p:cNvSpPr txBox="1"/>
          <p:nvPr/>
        </p:nvSpPr>
        <p:spPr>
          <a:xfrm>
            <a:off x="7664243" y="2171998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353D1647-F625-4480-9312-5D290483B057}"/>
              </a:ext>
            </a:extLst>
          </p:cNvPr>
          <p:cNvSpPr txBox="1"/>
          <p:nvPr/>
        </p:nvSpPr>
        <p:spPr>
          <a:xfrm>
            <a:off x="1623365" y="2171998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Zahnutá šipka nahoru 25">
            <a:extLst>
              <a:ext uri="{FF2B5EF4-FFF2-40B4-BE49-F238E27FC236}">
                <a16:creationId xmlns:a16="http://schemas.microsoft.com/office/drawing/2014/main" id="{312510B1-A6B3-45A9-A33C-CA6E3480DAC6}"/>
              </a:ext>
            </a:extLst>
          </p:cNvPr>
          <p:cNvSpPr/>
          <p:nvPr/>
        </p:nvSpPr>
        <p:spPr>
          <a:xfrm>
            <a:off x="3008871" y="2261624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Zahnutá šipka nahoru 25">
            <a:extLst>
              <a:ext uri="{FF2B5EF4-FFF2-40B4-BE49-F238E27FC236}">
                <a16:creationId xmlns:a16="http://schemas.microsoft.com/office/drawing/2014/main" id="{3EB4F019-BB59-4E3B-92FA-B41188416532}"/>
              </a:ext>
            </a:extLst>
          </p:cNvPr>
          <p:cNvSpPr/>
          <p:nvPr/>
        </p:nvSpPr>
        <p:spPr>
          <a:xfrm>
            <a:off x="5079481" y="2261624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Zahnutá šipka nahoru 25">
            <a:extLst>
              <a:ext uri="{FF2B5EF4-FFF2-40B4-BE49-F238E27FC236}">
                <a16:creationId xmlns:a16="http://schemas.microsoft.com/office/drawing/2014/main" id="{8E38B035-36BC-47A9-ABD2-FDDFB44B59BE}"/>
              </a:ext>
            </a:extLst>
          </p:cNvPr>
          <p:cNvSpPr/>
          <p:nvPr/>
        </p:nvSpPr>
        <p:spPr>
          <a:xfrm>
            <a:off x="7132339" y="2261624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Zahnutá šipka nahoru 25">
            <a:extLst>
              <a:ext uri="{FF2B5EF4-FFF2-40B4-BE49-F238E27FC236}">
                <a16:creationId xmlns:a16="http://schemas.microsoft.com/office/drawing/2014/main" id="{123C2ED0-00B0-4633-A8B7-B169E586E19A}"/>
              </a:ext>
            </a:extLst>
          </p:cNvPr>
          <p:cNvSpPr/>
          <p:nvPr/>
        </p:nvSpPr>
        <p:spPr>
          <a:xfrm>
            <a:off x="9165560" y="2261711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Zahnutá šipka nahoru 25">
            <a:extLst>
              <a:ext uri="{FF2B5EF4-FFF2-40B4-BE49-F238E27FC236}">
                <a16:creationId xmlns:a16="http://schemas.microsoft.com/office/drawing/2014/main" id="{82399E6A-645E-4F93-AF9C-A9E7744A36AE}"/>
              </a:ext>
            </a:extLst>
          </p:cNvPr>
          <p:cNvSpPr/>
          <p:nvPr/>
        </p:nvSpPr>
        <p:spPr>
          <a:xfrm>
            <a:off x="901603" y="2261624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1" name="Tabulka 4">
            <a:extLst>
              <a:ext uri="{FF2B5EF4-FFF2-40B4-BE49-F238E27FC236}">
                <a16:creationId xmlns:a16="http://schemas.microsoft.com/office/drawing/2014/main" id="{761B615D-E484-4BDC-9A6E-22987D21ED2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79059" y="1819596"/>
          <a:ext cx="118800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0000">
                  <a:extLst>
                    <a:ext uri="{9D8B030D-6E8A-4147-A177-3AD203B41FA5}">
                      <a16:colId xmlns:a16="http://schemas.microsoft.com/office/drawing/2014/main" val="3261913761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3754285602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2764063676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544989849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1380738768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43592556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7 hospitalizací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0 hospitalizací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0 hospitalizací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1 hospitalizací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9 hospitalizací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1 hospitalizací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6859167"/>
                  </a:ext>
                </a:extLst>
              </a:tr>
            </a:tbl>
          </a:graphicData>
        </a:graphic>
      </p:graphicFrame>
      <p:sp>
        <p:nvSpPr>
          <p:cNvPr id="42" name="Šipka doprava 58">
            <a:extLst>
              <a:ext uri="{FF2B5EF4-FFF2-40B4-BE49-F238E27FC236}">
                <a16:creationId xmlns:a16="http://schemas.microsoft.com/office/drawing/2014/main" id="{E6A6601A-93D6-496F-A6B6-5F0B1B664F6E}"/>
              </a:ext>
            </a:extLst>
          </p:cNvPr>
          <p:cNvSpPr/>
          <p:nvPr/>
        </p:nvSpPr>
        <p:spPr>
          <a:xfrm rot="20356586" flipV="1">
            <a:off x="11075605" y="3392830"/>
            <a:ext cx="521883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3" name="Tabulka 6">
            <a:extLst>
              <a:ext uri="{FF2B5EF4-FFF2-40B4-BE49-F238E27FC236}">
                <a16:creationId xmlns:a16="http://schemas.microsoft.com/office/drawing/2014/main" id="{282FA401-BFE3-470F-89FF-02127DB7615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319572" y="2154387"/>
          <a:ext cx="9481821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8000">
                  <a:extLst>
                    <a:ext uri="{9D8B030D-6E8A-4147-A177-3AD203B41FA5}">
                      <a16:colId xmlns:a16="http://schemas.microsoft.com/office/drawing/2014/main" val="4256108201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109467333"/>
                    </a:ext>
                  </a:extLst>
                </a:gridCol>
                <a:gridCol w="1394394">
                  <a:extLst>
                    <a:ext uri="{9D8B030D-6E8A-4147-A177-3AD203B41FA5}">
                      <a16:colId xmlns:a16="http://schemas.microsoft.com/office/drawing/2014/main" val="2436049300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390204682"/>
                    </a:ext>
                  </a:extLst>
                </a:gridCol>
                <a:gridCol w="1411809">
                  <a:extLst>
                    <a:ext uri="{9D8B030D-6E8A-4147-A177-3AD203B41FA5}">
                      <a16:colId xmlns:a16="http://schemas.microsoft.com/office/drawing/2014/main" val="3269273156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1376497500"/>
                    </a:ext>
                  </a:extLst>
                </a:gridCol>
                <a:gridCol w="1411809">
                  <a:extLst>
                    <a:ext uri="{9D8B030D-6E8A-4147-A177-3AD203B41FA5}">
                      <a16:colId xmlns:a16="http://schemas.microsoft.com/office/drawing/2014/main" val="1556511901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116966130"/>
                    </a:ext>
                  </a:extLst>
                </a:gridCol>
                <a:gridCol w="1411809">
                  <a:extLst>
                    <a:ext uri="{9D8B030D-6E8A-4147-A177-3AD203B41FA5}">
                      <a16:colId xmlns:a16="http://schemas.microsoft.com/office/drawing/2014/main" val="191361939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0,5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7,4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5,3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4,5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4,4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0114"/>
                  </a:ext>
                </a:extLst>
              </a:tr>
            </a:tbl>
          </a:graphicData>
        </a:graphic>
      </p:graphicFrame>
      <p:sp>
        <p:nvSpPr>
          <p:cNvPr id="44" name="TextovéPole 43">
            <a:extLst>
              <a:ext uri="{FF2B5EF4-FFF2-40B4-BE49-F238E27FC236}">
                <a16:creationId xmlns:a16="http://schemas.microsoft.com/office/drawing/2014/main" id="{3DD4E787-477B-46E5-BD56-038F4553FFF8}"/>
              </a:ext>
            </a:extLst>
          </p:cNvPr>
          <p:cNvSpPr txBox="1"/>
          <p:nvPr/>
        </p:nvSpPr>
        <p:spPr>
          <a:xfrm>
            <a:off x="181394" y="1228562"/>
            <a:ext cx="1962823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sta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8. 1.–3. 2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5" name="TextovéPole 44">
            <a:extLst>
              <a:ext uri="{FF2B5EF4-FFF2-40B4-BE49-F238E27FC236}">
                <a16:creationId xmlns:a16="http://schemas.microsoft.com/office/drawing/2014/main" id="{4CB910D4-43BE-4466-AED2-65BED86193E2}"/>
              </a:ext>
            </a:extLst>
          </p:cNvPr>
          <p:cNvSpPr txBox="1"/>
          <p:nvPr/>
        </p:nvSpPr>
        <p:spPr>
          <a:xfrm>
            <a:off x="2232994" y="1228562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sta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. 2.–10. 2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BD78F2CD-37EC-43B7-9D14-B16F61C07A53}"/>
              </a:ext>
            </a:extLst>
          </p:cNvPr>
          <p:cNvSpPr txBox="1"/>
          <p:nvPr/>
        </p:nvSpPr>
        <p:spPr>
          <a:xfrm>
            <a:off x="4200118" y="1222303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sta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1. 2.–17. 2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2ADAD8A5-E2D2-49BA-AB32-3D53DAE1D121}"/>
              </a:ext>
            </a:extLst>
          </p:cNvPr>
          <p:cNvSpPr txBox="1"/>
          <p:nvPr/>
        </p:nvSpPr>
        <p:spPr>
          <a:xfrm>
            <a:off x="6164255" y="1222303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sta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8. 2.–24. 2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5F43A9ED-1B3B-48E7-B80E-453B86CF8E4E}"/>
              </a:ext>
            </a:extLst>
          </p:cNvPr>
          <p:cNvSpPr txBox="1"/>
          <p:nvPr/>
        </p:nvSpPr>
        <p:spPr>
          <a:xfrm>
            <a:off x="8144612" y="1221894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sta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5. 2.–3. 3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D74B22F7-99DD-4FA8-9776-3EDF159F6B37}"/>
              </a:ext>
            </a:extLst>
          </p:cNvPr>
          <p:cNvSpPr txBox="1"/>
          <p:nvPr/>
        </p:nvSpPr>
        <p:spPr>
          <a:xfrm>
            <a:off x="10108749" y="1234219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sta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. 3.–10. 3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3" name="Obdélník 62">
            <a:extLst>
              <a:ext uri="{FF2B5EF4-FFF2-40B4-BE49-F238E27FC236}">
                <a16:creationId xmlns:a16="http://schemas.microsoft.com/office/drawing/2014/main" id="{A5E79564-BE7F-4E6D-BD9B-A2299383E60C}"/>
              </a:ext>
            </a:extLst>
          </p:cNvPr>
          <p:cNvSpPr/>
          <p:nvPr/>
        </p:nvSpPr>
        <p:spPr>
          <a:xfrm>
            <a:off x="901603" y="3333352"/>
            <a:ext cx="3679275" cy="400110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spitalizace s UPV + ECMO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398458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642" y="3931234"/>
            <a:ext cx="11905307" cy="1974265"/>
          </a:xfrm>
        </p:spPr>
        <p:txBody>
          <a:bodyPr>
            <a:normAutofit/>
          </a:bodyPr>
          <a:lstStyle/>
          <a:p>
            <a:r>
              <a:rPr lang="cs-CZ" sz="5400" b="1" dirty="0" smtClean="0"/>
              <a:t>Vybrané výstupy z prediktivních modelů</a:t>
            </a:r>
            <a:endParaRPr lang="cs-CZ" sz="5400" b="1" dirty="0"/>
          </a:p>
        </p:txBody>
      </p:sp>
    </p:spTree>
    <p:extLst>
      <p:ext uri="{BB962C8B-B14F-4D97-AF65-F5344CB8AC3E}">
        <p14:creationId xmlns:p14="http://schemas.microsoft.com/office/powerpoint/2010/main" val="20125250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212320" y="233667"/>
            <a:ext cx="11693236" cy="597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ětné připomenutí predikce provedené v lednu 2021 pro scénář rizikového vývoje a zrychleného šíření nakažlivější formy viru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á predikce dle modelu SEIR, který byl pro epidemii COVID-19 v ČR adaptován na počátku dubna 2020. </a:t>
            </a:r>
            <a:r>
              <a:rPr kumimoji="0" lang="cs-CZ" sz="24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pro rizikový vývoj vyvolaný nárůstem rizikových kontaktů nebo zvýšením reprodukční dynamiky nákazy (virtuální efekt případného opětovného uvolnění nebo efekt šíření nakažlivějších forem viru)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álný vývoj počtu nově diagnostikovaných pacientů v únoru 2021 potvrdil predikci provedenou dle vysoce rizikového scénáře, který předpokládal až 70% navýšení rychlosti šíření (nakažlivosti) nákazy. Model predikoval při daném objemu testů celkem 279 000 nových případů COVID-19 za celý únor, reálný počet byl 255 324. </a:t>
            </a:r>
            <a:endParaRPr kumimoji="0" lang="cs-CZ" sz="2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053576" y="3379185"/>
            <a:ext cx="1640138" cy="440179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Šipka dolů 6"/>
          <p:cNvSpPr/>
          <p:nvPr/>
        </p:nvSpPr>
        <p:spPr>
          <a:xfrm>
            <a:off x="5053576" y="6382745"/>
            <a:ext cx="1640138" cy="440179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574259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C98C8784-731C-4BD5-B7E3-A4BD8DDB55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2391" y="1525979"/>
            <a:ext cx="7253866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382514" y="235828"/>
            <a:ext cx="11429271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y šíření epidemie v lednu a únoru 2021</a:t>
            </a:r>
            <a:b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 ledna 2021 pro významný nárůst rizikových kontaktů nebo navýšení reprodukce nákazy 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200609" y="5962759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zahrnuje vybrané předpoklady a slouží ke zkoumání dopadu změny různých parametrů. Vzhledem k významným neurčitostem ve struktuře modelu, modelových parametrech a nejistotě ohledně budoucího vývoje je nezbytné výsledky brát jako orientační, umožňující pouze porovnání jednotlivých scénářů, nikoliv jako konkrétní předpověď pro určité období. </a:t>
            </a:r>
          </a:p>
        </p:txBody>
      </p:sp>
      <p:cxnSp>
        <p:nvCxnSpPr>
          <p:cNvPr id="26" name="Přímá spojnice 25"/>
          <p:cNvCxnSpPr/>
          <p:nvPr/>
        </p:nvCxnSpPr>
        <p:spPr>
          <a:xfrm>
            <a:off x="6371081" y="1427289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ovéPole 24">
            <a:extLst>
              <a:ext uri="{FF2B5EF4-FFF2-40B4-BE49-F238E27FC236}">
                <a16:creationId xmlns:a16="http://schemas.microsoft.com/office/drawing/2014/main" id="{590A9C4F-10F3-4016-8CE8-6FD01E44CFC4}"/>
              </a:ext>
            </a:extLst>
          </p:cNvPr>
          <p:cNvSpPr txBox="1"/>
          <p:nvPr/>
        </p:nvSpPr>
        <p:spPr>
          <a:xfrm>
            <a:off x="6902305" y="1264825"/>
            <a:ext cx="10126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</a:t>
            </a: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18133" y="1412277"/>
            <a:ext cx="38111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3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 kontaktů na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ýše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školních kontaktů na 5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jiných kontaktů na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na původní úroveň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 – Model předpokládající zvýšení rizikových kontaktů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80 % / 50 % / 80 % (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í, školní, jiné) NEBO zvýšení základní reprodukce o přibližně 7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7" name="Tabulka 10">
            <a:extLst>
              <a:ext uri="{FF2B5EF4-FFF2-40B4-BE49-F238E27FC236}">
                <a16:creationId xmlns:a16="http://schemas.microsoft.com/office/drawing/2014/main" id="{8F2E1F4E-1261-45A1-B049-927C3E301058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794861" cy="8250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8541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817040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817040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817040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817040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817040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817040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817040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817040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D31145"/>
                          </a:solidFill>
                          <a:effectLst/>
                          <a:latin typeface="Calibri" panose="020F0502020204030204" pitchFamily="34" charset="0"/>
                        </a:rPr>
                        <a:t>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D31145"/>
                          </a:solidFill>
                          <a:effectLst/>
                          <a:latin typeface="Calibri" panose="020F0502020204030204" pitchFamily="34" charset="0"/>
                        </a:rPr>
                        <a:t>1 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13" name="TextovéPole 12">
            <a:extLst>
              <a:ext uri="{FF2B5EF4-FFF2-40B4-BE49-F238E27FC236}">
                <a16:creationId xmlns:a16="http://schemas.microsoft.com/office/drawing/2014/main" id="{522E200B-65A1-441F-ABE3-66A5E5C0D077}"/>
              </a:ext>
            </a:extLst>
          </p:cNvPr>
          <p:cNvSpPr txBox="1"/>
          <p:nvPr/>
        </p:nvSpPr>
        <p:spPr>
          <a:xfrm>
            <a:off x="1446498" y="1174405"/>
            <a:ext cx="34672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zorovaná reál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zpoždění k hlášení 4 dn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354057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88534" y="126559"/>
            <a:ext cx="102171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scénáře vývoje dle dlouhodobé predikce SEIR modelu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4174034" y="870925"/>
            <a:ext cx="1380389" cy="439401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10067826" y="2411983"/>
            <a:ext cx="1982772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lová změna nebo rozvolnění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10067826" y="3715733"/>
            <a:ext cx="1982772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držení a částečné posílení opatření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/>
        </p:nvSpPr>
        <p:spPr>
          <a:xfrm>
            <a:off x="10067826" y="5278881"/>
            <a:ext cx="1982772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znamné posílení opatření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188534" y="1116160"/>
            <a:ext cx="9879292" cy="5386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 konci února 2021 byly připraveny tři nové scénáře dalšího vývoj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UcPeriod"/>
              <a:tabLst/>
              <a:defRPr/>
            </a:pPr>
            <a:r>
              <a:rPr kumimoji="0" lang="cs-CZ" sz="2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kračování nepříznivého trendu </a:t>
            </a:r>
            <a:r>
              <a:rPr kumimoji="0" lang="cs-CZ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dle již provedených simulací, kalkulované a dosud i prokázané zvýšení základní reprodukce viru o 70 %) 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UcPeriod"/>
              <a:tabLst/>
              <a:defRPr/>
            </a:pPr>
            <a:endParaRPr kumimoji="0" lang="cs-CZ" sz="2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lphaUcPeriod"/>
              <a:tabLst/>
              <a:defRPr/>
            </a:pPr>
            <a:r>
              <a:rPr kumimoji="0" lang="cs-CZ" sz="2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ro částečnou redukci šíření nákazy </a:t>
            </a:r>
            <a:r>
              <a:rPr kumimoji="0" lang="cs-CZ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nová opatření nebo posílené dodržování stávajících opatření): kalkulovaná redukce počtu rizikových kontaktů a mobility od března (nulové školní kontakty, pracovní a jiné kontakty snížené na 30 % výchozí referenční četnosti - snížení z původních 50%)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lphaUcPeriod"/>
              <a:tabLst/>
              <a:defRPr/>
            </a:pPr>
            <a:endParaRPr kumimoji="0" lang="cs-CZ" sz="2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lphaUcPeriod"/>
              <a:tabLst/>
              <a:defRPr/>
            </a:pPr>
            <a:r>
              <a:rPr kumimoji="0" lang="cs-CZ" sz="2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ro silný dopad nových opatření </a:t>
            </a:r>
            <a:r>
              <a:rPr kumimoji="0" lang="cs-CZ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lná nová opatření a posílené dodržování stávajících opatření): kalkulovaná redukce počtu rizikových kontaktů a mobility od března (nulové školní kontakty, pracovní a jiné kontakty snížené na 20 -25 % výchozí referenční četnosti – snížení z původních 50%)</a:t>
            </a:r>
          </a:p>
        </p:txBody>
      </p:sp>
    </p:spTree>
    <p:extLst>
      <p:ext uri="{BB962C8B-B14F-4D97-AF65-F5344CB8AC3E}">
        <p14:creationId xmlns:p14="http://schemas.microsoft.com/office/powerpoint/2010/main" val="213758600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22714C78-E60C-4B29-BEA0-CEAF7725E7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5443" y="1526462"/>
            <a:ext cx="7253866" cy="3240000"/>
          </a:xfrm>
          <a:prstGeom prst="rect">
            <a:avLst/>
          </a:prstGeom>
        </p:spPr>
      </p:pic>
      <p:pic>
        <p:nvPicPr>
          <p:cNvPr id="19" name="tabl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535" y="4775371"/>
            <a:ext cx="7834442" cy="830403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lný dopad potenciálních opatření zavedených od 1.3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.3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- 25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– scénář C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</p:spTree>
    <p:extLst>
      <p:ext uri="{BB962C8B-B14F-4D97-AF65-F5344CB8AC3E}">
        <p14:creationId xmlns:p14="http://schemas.microsoft.com/office/powerpoint/2010/main" val="423796818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4970A9A0-9B9A-438A-8080-AAC4592846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1290" y="1526465"/>
            <a:ext cx="7253866" cy="3240000"/>
          </a:xfrm>
          <a:prstGeom prst="rect">
            <a:avLst/>
          </a:prstGeom>
        </p:spPr>
      </p:pic>
      <p:pic>
        <p:nvPicPr>
          <p:cNvPr id="19" name="tabl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535" y="4775371"/>
            <a:ext cx="7834442" cy="830403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lný dopad potenciálních opatření zavedených od 1.3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.3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- 25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– scénář C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/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, </a:t>
            </a:r>
            <a:r>
              <a:rPr kumimoji="0" lang="cs-CZ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</a:t>
            </a:r>
            <a:endParaRPr kumimoji="0" lang="cs-CZ" sz="16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</p:spTree>
    <p:extLst>
      <p:ext uri="{BB962C8B-B14F-4D97-AF65-F5344CB8AC3E}">
        <p14:creationId xmlns:p14="http://schemas.microsoft.com/office/powerpoint/2010/main" val="30003800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138545" y="137541"/>
            <a:ext cx="11924146" cy="70480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sto je pozitivní zprávou, že vývoj  populační zátěže přestal eskalovat a stabilizuje se, byť na vysokých hodnotách. </a:t>
            </a:r>
            <a:endParaRPr kumimoji="0" lang="cs-CZ" sz="3400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rvním týdnu platnosti nových opatření po 1.3. ještě nemůže být plně viditelný 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jich vliv, jde tedy minimálně částečně i o </a:t>
            </a:r>
            <a:r>
              <a:rPr lang="cs-CZ" sz="3200" b="1" dirty="0" smtClean="0">
                <a:latin typeface="Calibri" panose="020F0502020204030204"/>
              </a:rPr>
              <a:t>efekt opatření z února (uzávěry okresů, stabilizace situace v HKK a KVK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dirty="0" smtClean="0">
                <a:latin typeface="Calibri" panose="020F0502020204030204"/>
              </a:rPr>
              <a:t>a s vysokou pravděpodobností se také projevuje odpovědnější  chování populace a zavedení nošení respirátorů.</a:t>
            </a:r>
            <a:endParaRPr kumimoji="0" lang="cs-CZ" sz="32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 smtClean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 smtClean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ůsledku toho reprodukční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íslo klesá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aktuálně </a:t>
            </a:r>
            <a:endParaRPr kumimoji="0" lang="cs-CZ" sz="3200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vno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,94. </a:t>
            </a:r>
            <a:endParaRPr kumimoji="0" lang="cs-CZ" sz="3200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Šipka dolů 8"/>
          <p:cNvSpPr/>
          <p:nvPr/>
        </p:nvSpPr>
        <p:spPr>
          <a:xfrm>
            <a:off x="5324763" y="4930487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77046" y="1362364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956073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DABF5DB6-14F6-4596-A54C-25C6ED0F6D9A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925717" y="1529113"/>
            <a:ext cx="7250400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434109" y="198705"/>
            <a:ext cx="11065164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2200" b="1" u="sng" dirty="0">
                <a:solidFill>
                  <a:prstClr val="white"/>
                </a:solidFill>
              </a:rPr>
              <a:t>SEIR model: udržení a významné posílení opatření </a:t>
            </a:r>
          </a:p>
          <a:p>
            <a:pPr lvl="0" algn="ctr">
              <a:defRPr/>
            </a:pPr>
            <a:r>
              <a:rPr lang="cs-CZ" sz="2200" b="1" dirty="0" smtClean="0">
                <a:solidFill>
                  <a:prstClr val="white"/>
                </a:solidFill>
              </a:rPr>
              <a:t>Simulace vyššího dodržování opatření od 19.2.2021 a rychlého dopadu dalších opatření</a:t>
            </a:r>
            <a:endParaRPr lang="cs-CZ" sz="2200" b="1" u="sng" dirty="0">
              <a:solidFill>
                <a:prstClr val="white"/>
              </a:solidFill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cs-CZ" sz="1600" b="1" dirty="0"/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1200" dirty="0"/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210951" y="1532028"/>
            <a:ext cx="394087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lvl="1">
              <a:defRPr/>
            </a:pPr>
            <a:r>
              <a:rPr lang="cs-CZ" sz="1600" b="1" kern="0" dirty="0"/>
              <a:t>Efekt opatření od 28.12.</a:t>
            </a:r>
          </a:p>
          <a:p>
            <a:pPr marL="447675" lvl="1" indent="-361950">
              <a:buFont typeface="Wingdings" panose="05000000000000000000" pitchFamily="2" charset="2"/>
              <a:buChar char="q"/>
              <a:defRPr/>
            </a:pPr>
            <a:r>
              <a:rPr lang="cs-CZ" sz="1600" b="1" kern="0" dirty="0"/>
              <a:t>snížení pracovních kontaktů na 40 %</a:t>
            </a:r>
            <a:endParaRPr lang="en-US" sz="1600" b="1" kern="0" dirty="0"/>
          </a:p>
          <a:p>
            <a:pPr marL="447675" lvl="1" indent="-361950">
              <a:buFont typeface="Wingdings" panose="05000000000000000000" pitchFamily="2" charset="2"/>
              <a:buChar char="q"/>
              <a:defRPr/>
            </a:pPr>
            <a:r>
              <a:rPr lang="cs-CZ" sz="1600" b="1" kern="0" dirty="0"/>
              <a:t>školní kontakty na 0 %</a:t>
            </a:r>
          </a:p>
          <a:p>
            <a:pPr marL="447675" lvl="1" indent="-361950">
              <a:buFont typeface="Wingdings" panose="05000000000000000000" pitchFamily="2" charset="2"/>
              <a:buChar char="q"/>
              <a:defRPr/>
            </a:pPr>
            <a:r>
              <a:rPr lang="cs-CZ" sz="1600" b="1" kern="0" dirty="0"/>
              <a:t>snížení jiných kontaktů na 40 %</a:t>
            </a:r>
          </a:p>
          <a:p>
            <a:pPr marL="447675" lvl="1" indent="-361950">
              <a:buFont typeface="Wingdings" panose="05000000000000000000" pitchFamily="2" charset="2"/>
              <a:buChar char="q"/>
            </a:pPr>
            <a:r>
              <a:rPr lang="cs-CZ" sz="1600" b="1" dirty="0"/>
              <a:t>snížení základní reprodukce o 10%</a:t>
            </a:r>
          </a:p>
          <a:p>
            <a:pPr marL="447675" lvl="1" indent="-361950">
              <a:buFont typeface="Wingdings" panose="05000000000000000000" pitchFamily="2" charset="2"/>
              <a:buChar char="q"/>
            </a:pPr>
            <a:r>
              <a:rPr lang="cs-CZ" sz="1600" b="1" dirty="0"/>
              <a:t>školní kontakty na 30 % od 4.1.</a:t>
            </a:r>
          </a:p>
          <a:p>
            <a:pPr marL="85725" lvl="1"/>
            <a:endParaRPr lang="cs-CZ" sz="1600" b="1" dirty="0">
              <a:solidFill>
                <a:srgbClr val="D31145"/>
              </a:solidFill>
            </a:endParaRPr>
          </a:p>
          <a:p>
            <a:pPr marL="85725" lvl="1"/>
            <a:r>
              <a:rPr lang="cs-CZ" sz="1600" b="1" dirty="0">
                <a:solidFill>
                  <a:srgbClr val="D31145"/>
                </a:solidFill>
              </a:rPr>
              <a:t>Od 25.1.</a:t>
            </a:r>
          </a:p>
          <a:p>
            <a:pPr marL="447675" lvl="1" indent="-361950">
              <a:buFont typeface="Wingdings" panose="05000000000000000000" pitchFamily="2" charset="2"/>
              <a:buChar char="q"/>
            </a:pPr>
            <a:r>
              <a:rPr lang="cs-CZ" sz="1600" b="1" dirty="0">
                <a:solidFill>
                  <a:srgbClr val="D31145"/>
                </a:solidFill>
              </a:rPr>
              <a:t>zvýšení základní reprodukce o 70 %</a:t>
            </a:r>
            <a:br>
              <a:rPr lang="cs-CZ" sz="1600" b="1" dirty="0">
                <a:solidFill>
                  <a:srgbClr val="D31145"/>
                </a:solidFill>
              </a:rPr>
            </a:br>
            <a:r>
              <a:rPr lang="cs-CZ" sz="1600" b="1" dirty="0">
                <a:solidFill>
                  <a:srgbClr val="D31145"/>
                </a:solidFill>
              </a:rPr>
              <a:t>(simulace šíření nakažlivějších forem viru, simulace nedodržování opatření)</a:t>
            </a:r>
          </a:p>
          <a:p>
            <a:pPr marL="447675" lvl="1" indent="-361950">
              <a:buFont typeface="Wingdings" panose="05000000000000000000" pitchFamily="2" charset="2"/>
              <a:buChar char="q"/>
              <a:defRPr/>
            </a:pPr>
            <a:endParaRPr lang="cs-CZ" sz="1600" b="1" kern="0" dirty="0">
              <a:solidFill>
                <a:srgbClr val="D31145"/>
              </a:solidFill>
            </a:endParaRPr>
          </a:p>
          <a:p>
            <a:pPr marL="85725" lvl="1">
              <a:defRPr/>
            </a:pPr>
            <a:r>
              <a:rPr lang="cs-CZ" sz="1600" b="1" u="sng" kern="0" dirty="0">
                <a:solidFill>
                  <a:srgbClr val="D31145"/>
                </a:solidFill>
              </a:rPr>
              <a:t>Efekt </a:t>
            </a:r>
            <a:r>
              <a:rPr lang="cs-CZ" sz="1600" b="1" u="sng" kern="0" dirty="0" smtClean="0">
                <a:solidFill>
                  <a:srgbClr val="D31145"/>
                </a:solidFill>
              </a:rPr>
              <a:t>vyššího dodržování opatření </a:t>
            </a:r>
            <a:r>
              <a:rPr lang="cs-CZ" sz="1600" b="1" u="sng" kern="0" dirty="0">
                <a:solidFill>
                  <a:srgbClr val="D31145"/>
                </a:solidFill>
              </a:rPr>
              <a:t>od </a:t>
            </a:r>
            <a:r>
              <a:rPr lang="cs-CZ" sz="1600" b="1" u="sng" kern="0" dirty="0">
                <a:solidFill>
                  <a:srgbClr val="0070C0"/>
                </a:solidFill>
              </a:rPr>
              <a:t>19.2.</a:t>
            </a:r>
          </a:p>
          <a:p>
            <a:pPr marL="447675" lvl="1" indent="-361950">
              <a:buFont typeface="Wingdings" panose="05000000000000000000" pitchFamily="2" charset="2"/>
              <a:buChar char="q"/>
              <a:defRPr/>
            </a:pPr>
            <a:r>
              <a:rPr lang="cs-CZ" sz="1600" b="1" kern="0" dirty="0">
                <a:solidFill>
                  <a:srgbClr val="D31145"/>
                </a:solidFill>
              </a:rPr>
              <a:t>snížení pracovních kontaktů na </a:t>
            </a:r>
            <a:r>
              <a:rPr lang="cs-CZ" sz="1600" b="1" u="sng" kern="0" dirty="0">
                <a:solidFill>
                  <a:srgbClr val="D31145"/>
                </a:solidFill>
              </a:rPr>
              <a:t>20 %</a:t>
            </a:r>
            <a:endParaRPr lang="en-US" sz="1600" b="1" u="sng" kern="0" dirty="0">
              <a:solidFill>
                <a:srgbClr val="D31145"/>
              </a:solidFill>
            </a:endParaRPr>
          </a:p>
          <a:p>
            <a:pPr marL="447675" lvl="1" indent="-361950">
              <a:buFont typeface="Wingdings" panose="05000000000000000000" pitchFamily="2" charset="2"/>
              <a:buChar char="q"/>
              <a:defRPr/>
            </a:pPr>
            <a:r>
              <a:rPr lang="cs-CZ" sz="1600" b="1" kern="0" dirty="0">
                <a:solidFill>
                  <a:srgbClr val="D31145"/>
                </a:solidFill>
              </a:rPr>
              <a:t>školní kontakty na 0 %</a:t>
            </a:r>
          </a:p>
          <a:p>
            <a:pPr marL="447675" lvl="1" indent="-361950">
              <a:buFont typeface="Wingdings" panose="05000000000000000000" pitchFamily="2" charset="2"/>
              <a:buChar char="q"/>
              <a:defRPr/>
            </a:pPr>
            <a:r>
              <a:rPr lang="cs-CZ" sz="1600" b="1" kern="0" dirty="0">
                <a:solidFill>
                  <a:srgbClr val="D31145"/>
                </a:solidFill>
              </a:rPr>
              <a:t>snížení jiných kontaktů na </a:t>
            </a:r>
            <a:r>
              <a:rPr lang="cs-CZ" sz="1600" b="1" u="sng" kern="0" dirty="0">
                <a:solidFill>
                  <a:srgbClr val="D31145"/>
                </a:solidFill>
              </a:rPr>
              <a:t>20 - 25 %</a:t>
            </a:r>
          </a:p>
          <a:p>
            <a:pPr marL="85725" lvl="1">
              <a:defRPr/>
            </a:pPr>
            <a:endParaRPr lang="cs-CZ" sz="1600" b="1" kern="0" dirty="0">
              <a:solidFill>
                <a:srgbClr val="D31145"/>
              </a:solidFill>
            </a:endParaRPr>
          </a:p>
          <a:p>
            <a:pPr marL="85725" lvl="1"/>
            <a:r>
              <a:rPr lang="en-US" sz="1600" b="1" kern="0" dirty="0">
                <a:solidFill>
                  <a:srgbClr val="D31145"/>
                </a:solidFill>
              </a:rPr>
              <a:t>(</a:t>
            </a:r>
            <a:r>
              <a:rPr lang="cs-CZ" sz="1600" b="1" kern="0" dirty="0">
                <a:solidFill>
                  <a:srgbClr val="D31145"/>
                </a:solidFill>
              </a:rPr>
              <a:t>uvedeny podíly normálních kontaktů</a:t>
            </a:r>
            <a:r>
              <a:rPr lang="en-US" sz="1600" b="1" kern="0" dirty="0">
                <a:solidFill>
                  <a:srgbClr val="D31145"/>
                </a:solidFill>
              </a:rPr>
              <a:t>)</a:t>
            </a:r>
            <a:endParaRPr lang="cs-CZ" sz="1600" b="1" dirty="0">
              <a:solidFill>
                <a:srgbClr val="D31145"/>
              </a:solidFill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600" b="1" dirty="0"/>
              <a:t>Predikce – scénář C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</a:t>
            </a:r>
            <a:r>
              <a:rPr kumimoji="0" lang="cs-CZ" sz="110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například limitované znalosti o skutečné vnímavosti populace k viru a k jeho novým variantám) 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e nezbytné výsledky brát jako orientační, umožňující zejména celkové</a:t>
            </a:r>
            <a:r>
              <a:rPr kumimoji="0" lang="cs-CZ" sz="1100" b="0" i="1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rovnávání 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00608" y="4765643"/>
          <a:ext cx="7834442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7452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  <a:endParaRPr lang="cs-CZ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/>
          <p:cNvSpPr txBox="1"/>
          <p:nvPr/>
        </p:nvSpPr>
        <p:spPr>
          <a:xfrm>
            <a:off x="1588654" y="2175177"/>
            <a:ext cx="41840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 smtClean="0">
                <a:solidFill>
                  <a:srgbClr val="C00000"/>
                </a:solidFill>
              </a:rPr>
              <a:t>Adaptace modelu na rychlejší efekt opatření, částečně již od konce února</a:t>
            </a:r>
            <a:endParaRPr lang="cs-CZ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4016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6F98C1BA-FBF3-4C76-95C7-7B0ACD0B20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950" y="1531776"/>
            <a:ext cx="7250497" cy="3240000"/>
          </a:xfrm>
          <a:prstGeom prst="rect">
            <a:avLst/>
          </a:prstGeom>
        </p:spPr>
      </p:pic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262818" y="1532028"/>
            <a:ext cx="3889007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lvl="1">
              <a:defRPr/>
            </a:pP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lang="cs-CZ" sz="1600" b="1" u="sng" kern="0" dirty="0">
                <a:solidFill>
                  <a:srgbClr val="D31145"/>
                </a:solidFill>
              </a:rPr>
              <a:t>vyššího dodržování opatření od </a:t>
            </a:r>
            <a:r>
              <a:rPr lang="cs-CZ" sz="1600" b="1" u="sng" kern="0" dirty="0">
                <a:solidFill>
                  <a:srgbClr val="0070C0"/>
                </a:solidFill>
              </a:rPr>
              <a:t>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- 25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– scénář C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, PRACOVNÍ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2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7452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653699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  <a:endParaRPr lang="cs-CZ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17" name="TextovéPole 16"/>
          <p:cNvSpPr txBox="1"/>
          <p:nvPr/>
        </p:nvSpPr>
        <p:spPr>
          <a:xfrm>
            <a:off x="1588654" y="2175177"/>
            <a:ext cx="41840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 smtClean="0">
                <a:solidFill>
                  <a:srgbClr val="C00000"/>
                </a:solidFill>
              </a:rPr>
              <a:t>Adaptace modelu na rychlejší efekt opatření, částečně již od konce února</a:t>
            </a:r>
            <a:endParaRPr lang="cs-CZ" b="1" dirty="0">
              <a:solidFill>
                <a:srgbClr val="C00000"/>
              </a:solidFill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434109" y="198705"/>
            <a:ext cx="11065164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2200" b="1" u="sng" dirty="0">
                <a:solidFill>
                  <a:prstClr val="white"/>
                </a:solidFill>
              </a:rPr>
              <a:t>SEIR model: udržení a významné posílení opatření </a:t>
            </a:r>
          </a:p>
          <a:p>
            <a:pPr lvl="0" algn="ctr">
              <a:defRPr/>
            </a:pPr>
            <a:r>
              <a:rPr lang="cs-CZ" sz="2200" b="1" dirty="0" smtClean="0">
                <a:solidFill>
                  <a:prstClr val="white"/>
                </a:solidFill>
              </a:rPr>
              <a:t>Simulace vyššího dodržování opatření od 19.2.2021 a rychlého dopadu dalších opatření</a:t>
            </a:r>
            <a:endParaRPr lang="cs-CZ" sz="2200" b="1" u="sng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190987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1574216"/>
          </a:xfrm>
        </p:spPr>
        <p:txBody>
          <a:bodyPr>
            <a:normAutofit/>
          </a:bodyPr>
          <a:lstStyle/>
          <a:p>
            <a:r>
              <a:rPr lang="cs-CZ" sz="5200" b="1" dirty="0"/>
              <a:t>Dlouhodobé predikce zátěže nemocnic</a:t>
            </a:r>
          </a:p>
          <a:p>
            <a:pPr lvl="0">
              <a:lnSpc>
                <a:spcPct val="100000"/>
              </a:lnSpc>
            </a:pPr>
            <a:r>
              <a:rPr lang="cs-CZ" sz="3000" b="1" i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cénáře kalkulující s efektem přijatých opatření od poloviny března</a:t>
            </a:r>
          </a:p>
        </p:txBody>
      </p:sp>
      <p:sp>
        <p:nvSpPr>
          <p:cNvPr id="4" name="Obdélník 3"/>
          <p:cNvSpPr/>
          <p:nvPr/>
        </p:nvSpPr>
        <p:spPr>
          <a:xfrm>
            <a:off x="735394" y="5267325"/>
            <a:ext cx="1072120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kern="0" dirty="0">
                <a:solidFill>
                  <a:prstClr val="black"/>
                </a:solidFill>
              </a:rPr>
              <a:t>V této variantě modelů je kalkulována změna v populačních trendech od poloviny března, s postupným pozitivním dopadem na zátěž nemocnic od cca 20.3. 2021. </a:t>
            </a:r>
          </a:p>
        </p:txBody>
      </p:sp>
    </p:spTree>
    <p:extLst>
      <p:ext uri="{BB962C8B-B14F-4D97-AF65-F5344CB8AC3E}">
        <p14:creationId xmlns:p14="http://schemas.microsoft.com/office/powerpoint/2010/main" val="385171616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41403" y="178376"/>
            <a:ext cx="11884914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ější predikce vývoje zátěže nemocnic a zdravotních dopadů: modely kalkulující s pomalejším efektem přijatých opatřen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na populační úrovni cca </a:t>
            </a: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5.3</a:t>
            </a:r>
            <a:r>
              <a:rPr kumimoji="0" lang="cs-CZ" sz="3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, s dopadem do nemocnic cca od 20.3.)</a:t>
            </a:r>
            <a:endParaRPr kumimoji="0" lang="cs-CZ" sz="3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19203" y="1823935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1186296" y="2590711"/>
            <a:ext cx="950595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kern="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 této variantě modelů je kalkulována </a:t>
            </a:r>
            <a:r>
              <a:rPr lang="cs-CZ" kern="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lativně pozvolná změna </a:t>
            </a:r>
            <a:r>
              <a:rPr lang="cs-CZ" kern="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 populačních trendech od poloviny března, s postupným pozitivním dopadem na zátěž nemocnic od cca 20.3. 2021</a:t>
            </a:r>
            <a:r>
              <a:rPr lang="cs-CZ" kern="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Zátěž nemocnic bude pravděpodobně kulminovat až do poloviny března.  </a:t>
            </a:r>
            <a:endParaRPr lang="cs-CZ" kern="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119202" y="3931769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514783" y="4905286"/>
            <a:ext cx="1084897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2400" b="1" kern="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zhledem k stávajícímu populačnímu vývoji epidemie </a:t>
            </a:r>
            <a:r>
              <a:rPr lang="cs-CZ" sz="2400" b="1" u="sng" kern="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tato varianta pomalejšího útlumu zátěže pravděpodobnější než modelové scénáře pro rychlejší útlum </a:t>
            </a:r>
            <a:r>
              <a:rPr lang="cs-CZ" sz="2400" b="1" kern="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pidemie. Důvodem relativně dlouhodobé zátěže nemocnic je stále vysoký denní počet nově nakažených pacientů z potenciálně zranitelných skupin. </a:t>
            </a:r>
            <a:endParaRPr lang="cs-CZ" sz="2400" b="1" kern="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36720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41403" y="178376"/>
            <a:ext cx="11884914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ější predikce vývoje zátěže nemocnic a zdravotních dopadů: modely kalkulující s pomalejším efektem přijatých opatřen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na populační úrovni cca </a:t>
            </a: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5.3</a:t>
            </a:r>
            <a:r>
              <a:rPr kumimoji="0" lang="cs-CZ" sz="3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, s dopadem do nemocnic cca od 20.3.)</a:t>
            </a:r>
            <a:endParaRPr kumimoji="0" lang="cs-CZ" sz="3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19203" y="1823935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226241" y="2550863"/>
            <a:ext cx="1982772" cy="92333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lová změna nebo rozvolnění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ovéPole 19"/>
          <p:cNvSpPr txBox="1"/>
          <p:nvPr/>
        </p:nvSpPr>
        <p:spPr>
          <a:xfrm>
            <a:off x="226241" y="4116257"/>
            <a:ext cx="1982772" cy="923330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držení a částečné posílení opatření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ovéPole 20"/>
          <p:cNvSpPr txBox="1"/>
          <p:nvPr/>
        </p:nvSpPr>
        <p:spPr>
          <a:xfrm>
            <a:off x="226241" y="5772182"/>
            <a:ext cx="1982772" cy="923330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znamné posílení opatření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ovéPole 21"/>
          <p:cNvSpPr txBox="1"/>
          <p:nvPr/>
        </p:nvSpPr>
        <p:spPr>
          <a:xfrm>
            <a:off x="2328419" y="2458530"/>
            <a:ext cx="697583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ý scénář pro kontinuální nárůst celkového počtu hospitalizovaných v březnu až k hranici &gt; 14 000, přičemž na JIP reálně hrozí počet až 2 000 hospitalizací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22"/>
          <p:cNvSpPr txBox="1"/>
          <p:nvPr/>
        </p:nvSpPr>
        <p:spPr>
          <a:xfrm>
            <a:off x="2328419" y="4023924"/>
            <a:ext cx="697583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tinuální nárůst celkového počtu hospitalizovaných na počátku března až k hranici &gt; 8 000, od druhé poloviny března postupný sestup. Počty na JIP pravděpodobně překročí hranici 1 600. 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/>
          <p:cNvSpPr txBox="1"/>
          <p:nvPr/>
        </p:nvSpPr>
        <p:spPr>
          <a:xfrm>
            <a:off x="2328419" y="5679849"/>
            <a:ext cx="697583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račující nárůst celkového počtu hospitalizovaných na počátku března až k hranici &gt; 8 000, od druhé poloviny března zrychlený sestup. Počty na JIP pravděpodobně nepřekročí hranici 1 600. 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/>
          <p:cNvSpPr txBox="1"/>
          <p:nvPr/>
        </p:nvSpPr>
        <p:spPr>
          <a:xfrm>
            <a:off x="9262398" y="2171197"/>
            <a:ext cx="2800226" cy="4524315"/>
          </a:xfrm>
          <a:prstGeom prst="rect">
            <a:avLst/>
          </a:prstGeom>
          <a:solidFill>
            <a:srgbClr val="EAEFF7"/>
          </a:solidFill>
          <a:ln w="12700">
            <a:solidFill>
              <a:sysClr val="windowText" lastClr="000000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této variantě modelů je kalkulována změna v populačních trendech od poloviny března, s postupným pozitivním dopadem na zátěž nemocnic od cca 20.3. 2021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ý scénář A slouží pouze jako referenční modelový popis nekontrolované eskalace epidemie. Vzhledem k přijatým opatřením je tento scénář nepravděpodobný. </a:t>
            </a:r>
            <a:endParaRPr kumimoji="0" lang="en-US" sz="1800" b="0" i="1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256570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aktuálně hospitalizovaných</a:t>
            </a:r>
            <a:endParaRPr lang="cs-CZ" dirty="0">
              <a:latin typeface="+mj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2999926" y="590503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1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11" name="Obdélník 34">
            <a:extLst>
              <a:ext uri="{FF2B5EF4-FFF2-40B4-BE49-F238E27FC236}">
                <a16:creationId xmlns:a16="http://schemas.microsoft.com/office/drawing/2014/main" id="{10A758A9-D40B-4B7F-8B07-A73E8D4EED72}"/>
              </a:ext>
            </a:extLst>
          </p:cNvPr>
          <p:cNvSpPr/>
          <p:nvPr/>
        </p:nvSpPr>
        <p:spPr>
          <a:xfrm>
            <a:off x="8200670" y="1001503"/>
            <a:ext cx="399953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 A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ekt opatření od 28.12. - snížení pracovních kontaktů na 40 %, školní kontakty na 0 %, snížení jiných kontaktů na 40 %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žení základní reprodukce o 10%, školní kontakty na 30 % od 4.1.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5.1. - zvýšení základní reprodukce o 70 %</a:t>
            </a: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dále nekontrolovaná eskalace epidemie bez opatření (simulace šíření nakažlivějších forem viru, simulace nedodržování opatření) </a:t>
            </a:r>
          </a:p>
        </p:txBody>
      </p:sp>
      <p:sp>
        <p:nvSpPr>
          <p:cNvPr id="12" name="Obdélník 34">
            <a:extLst>
              <a:ext uri="{FF2B5EF4-FFF2-40B4-BE49-F238E27FC236}">
                <a16:creationId xmlns:a16="http://schemas.microsoft.com/office/drawing/2014/main" id="{AD3134CF-04A5-46A6-97BA-A406137FE2B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200670" y="3214181"/>
            <a:ext cx="399953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 B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5.1. - zvýšení základní reprodukce o 70 % (simulace šíření nakažlivějších forem viru)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ekt opatření od 1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snížení pracovních kontaktů na 30 %, školní kontakty na 0 %, postupné snížení jiných kontaktů na 30 % s dalším efektem opatření přijatých od 1.3. </a:t>
            </a:r>
          </a:p>
        </p:txBody>
      </p:sp>
      <p:sp>
        <p:nvSpPr>
          <p:cNvPr id="16" name="Obdélník 34">
            <a:extLst>
              <a:ext uri="{FF2B5EF4-FFF2-40B4-BE49-F238E27FC236}">
                <a16:creationId xmlns:a16="http://schemas.microsoft.com/office/drawing/2014/main" id="{C639DFA8-B71E-4FE7-9F76-FA4A424103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200670" y="5287901"/>
            <a:ext cx="399953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CD6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 C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5.1. - zvýšení základní reprodukce o 70 % (simulace zavedení emergentní mutace)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ekt opatření od 1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snížení pracovních kontaktů na 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 %, 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kolní kontakty na 0 %, snížení jiných kontaktů na 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 - 25% 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 dalším efektem opatření přijatých od 1.3. </a:t>
            </a:r>
          </a:p>
        </p:txBody>
      </p:sp>
      <p:sp>
        <p:nvSpPr>
          <p:cNvPr id="17" name="TextovéPole 16"/>
          <p:cNvSpPr txBox="1"/>
          <p:nvPr/>
        </p:nvSpPr>
        <p:spPr>
          <a:xfrm>
            <a:off x="10348107" y="775170"/>
            <a:ext cx="1515221" cy="43088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ulová změna nebo rozvolnění 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ovéPole 18"/>
          <p:cNvSpPr txBox="1"/>
          <p:nvPr/>
        </p:nvSpPr>
        <p:spPr>
          <a:xfrm>
            <a:off x="10456748" y="2998737"/>
            <a:ext cx="1515221" cy="430887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držení a částečné posílení opatření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ovéPole 19"/>
          <p:cNvSpPr txBox="1"/>
          <p:nvPr/>
        </p:nvSpPr>
        <p:spPr>
          <a:xfrm>
            <a:off x="10456748" y="5072457"/>
            <a:ext cx="1515221" cy="430887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znamné posílení opatření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/>
          <p:cNvSpPr txBox="1"/>
          <p:nvPr/>
        </p:nvSpPr>
        <p:spPr>
          <a:xfrm>
            <a:off x="4727780" y="1625386"/>
            <a:ext cx="2587420" cy="43088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pravděpodobný scénář:</a:t>
            </a:r>
            <a:r>
              <a:rPr kumimoji="0" lang="cs-CZ" sz="1100" b="1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ekontrolované šíření nákazy 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599765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aktuálně hospitalizovaných</a:t>
            </a:r>
            <a:r>
              <a:rPr lang="en-US" u="sng" dirty="0">
                <a:latin typeface="+mj-lt"/>
              </a:rPr>
              <a:t> </a:t>
            </a:r>
            <a:r>
              <a:rPr lang="en-US" u="sng" dirty="0" err="1">
                <a:latin typeface="+mj-lt"/>
              </a:rPr>
              <a:t>na</a:t>
            </a:r>
            <a:r>
              <a:rPr lang="en-US" u="sng" dirty="0">
                <a:latin typeface="+mj-lt"/>
              </a:rPr>
              <a:t> JIP</a:t>
            </a:r>
            <a:endParaRPr lang="cs-CZ" dirty="0"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497FCDE3-750D-44E8-975C-7E77DD5F49D6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80B364D7-B9DD-4ACF-A330-0F27E8BA3BF5}"/>
              </a:ext>
            </a:extLst>
          </p:cNvPr>
          <p:cNvSpPr/>
          <p:nvPr/>
        </p:nvSpPr>
        <p:spPr>
          <a:xfrm>
            <a:off x="2999926" y="590503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16" name="Obdélník 34">
            <a:extLst>
              <a:ext uri="{FF2B5EF4-FFF2-40B4-BE49-F238E27FC236}">
                <a16:creationId xmlns:a16="http://schemas.microsoft.com/office/drawing/2014/main" id="{10A758A9-D40B-4B7F-8B07-A73E8D4EED72}"/>
              </a:ext>
            </a:extLst>
          </p:cNvPr>
          <p:cNvSpPr/>
          <p:nvPr/>
        </p:nvSpPr>
        <p:spPr>
          <a:xfrm>
            <a:off x="8200670" y="1001503"/>
            <a:ext cx="399953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 A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ekt opatření od 28.12. - snížení pracovních kontaktů na 40 %, školní kontakty na 0 %, snížení jiných kontaktů na 40 %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žení základní reprodukce o 10%, školní kontakty na 30 % od 4.1.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5.1. - zvýšení základní reprodukce o 70 %</a:t>
            </a: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dále nekontrolovaná eskalace epidemie bez opatření (simulace šíření nakažlivějších forem viru, simulace nedodržování opatření) </a:t>
            </a:r>
          </a:p>
        </p:txBody>
      </p:sp>
      <p:sp>
        <p:nvSpPr>
          <p:cNvPr id="17" name="Obdélník 34">
            <a:extLst>
              <a:ext uri="{FF2B5EF4-FFF2-40B4-BE49-F238E27FC236}">
                <a16:creationId xmlns:a16="http://schemas.microsoft.com/office/drawing/2014/main" id="{AD3134CF-04A5-46A6-97BA-A406137FE2B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200670" y="3214181"/>
            <a:ext cx="399953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 B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5.1. - zvýšení základní reprodukce o 70 % (simulace šíření nakažlivějších forem viru)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ekt opatření od 1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snížení pracovních kontaktů na 30 %, školní kontakty na 0 %, postupné snížení jiných kontaktů na 30 % s dalším efektem opatření přijatých od 1.3. </a:t>
            </a:r>
          </a:p>
        </p:txBody>
      </p:sp>
      <p:sp>
        <p:nvSpPr>
          <p:cNvPr id="19" name="Obdélník 34">
            <a:extLst>
              <a:ext uri="{FF2B5EF4-FFF2-40B4-BE49-F238E27FC236}">
                <a16:creationId xmlns:a16="http://schemas.microsoft.com/office/drawing/2014/main" id="{C639DFA8-B71E-4FE7-9F76-FA4A424103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200670" y="5287901"/>
            <a:ext cx="399953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CD6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 C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5.1. - zvýšení základní reprodukce o 70 % (simulace zavedení emergentní mutace)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ekt opatření od 1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snížení pracovních kontaktů na 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 %, 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kolní kontakty na 0 %, snížení jiných kontaktů na 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 - 25% 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 dalším efektem opatření přijatých od 1.3. </a:t>
            </a:r>
          </a:p>
        </p:txBody>
      </p:sp>
      <p:sp>
        <p:nvSpPr>
          <p:cNvPr id="20" name="TextovéPole 19"/>
          <p:cNvSpPr txBox="1"/>
          <p:nvPr/>
        </p:nvSpPr>
        <p:spPr>
          <a:xfrm>
            <a:off x="10348107" y="775170"/>
            <a:ext cx="1515221" cy="43088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ulová změna nebo rozvolnění 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extovéPole 20"/>
          <p:cNvSpPr txBox="1"/>
          <p:nvPr/>
        </p:nvSpPr>
        <p:spPr>
          <a:xfrm>
            <a:off x="10456748" y="2998737"/>
            <a:ext cx="1515221" cy="430887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držení a částečné posílení opatření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ovéPole 21"/>
          <p:cNvSpPr txBox="1"/>
          <p:nvPr/>
        </p:nvSpPr>
        <p:spPr>
          <a:xfrm>
            <a:off x="10456748" y="5072457"/>
            <a:ext cx="1515221" cy="430887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znamné posílení opatření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/>
          <p:cNvSpPr txBox="1"/>
          <p:nvPr/>
        </p:nvSpPr>
        <p:spPr>
          <a:xfrm>
            <a:off x="4755490" y="1679648"/>
            <a:ext cx="2587420" cy="43088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pravděpodobný scénář:</a:t>
            </a:r>
            <a:r>
              <a:rPr kumimoji="0" lang="cs-CZ" sz="1100" b="1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ekontrolované šíření nákazy 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593123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4109" y="3683584"/>
            <a:ext cx="11623781" cy="1583741"/>
          </a:xfrm>
        </p:spPr>
        <p:txBody>
          <a:bodyPr>
            <a:normAutofit/>
          </a:bodyPr>
          <a:lstStyle/>
          <a:p>
            <a:r>
              <a:rPr lang="cs-CZ" sz="5200" b="1" dirty="0"/>
              <a:t>Dlouhodobé predikce zátěže nemocnic</a:t>
            </a:r>
          </a:p>
          <a:p>
            <a:r>
              <a:rPr lang="cs-CZ" sz="3000" b="1" i="1" dirty="0">
                <a:solidFill>
                  <a:srgbClr val="FF0000"/>
                </a:solidFill>
              </a:rPr>
              <a:t>Scénáře kalkulující s rychlým efektem přijatých </a:t>
            </a:r>
            <a:r>
              <a:rPr lang="cs-CZ" sz="3000" b="1" i="1" dirty="0" smtClean="0">
                <a:solidFill>
                  <a:srgbClr val="FF0000"/>
                </a:solidFill>
              </a:rPr>
              <a:t>opatření</a:t>
            </a:r>
            <a:r>
              <a:rPr lang="cs-CZ" sz="3000" b="1" i="1" dirty="0">
                <a:solidFill>
                  <a:srgbClr val="FF0000"/>
                </a:solidFill>
              </a:rPr>
              <a:t> </a:t>
            </a:r>
            <a:r>
              <a:rPr lang="cs-CZ" sz="3000" b="1" i="1" dirty="0" smtClean="0">
                <a:solidFill>
                  <a:srgbClr val="FF0000"/>
                </a:solidFill>
              </a:rPr>
              <a:t>již po 8.3. 2021</a:t>
            </a:r>
          </a:p>
        </p:txBody>
      </p:sp>
      <p:sp>
        <p:nvSpPr>
          <p:cNvPr id="4" name="Obdélník 3"/>
          <p:cNvSpPr/>
          <p:nvPr/>
        </p:nvSpPr>
        <p:spPr>
          <a:xfrm>
            <a:off x="661166" y="5267325"/>
            <a:ext cx="1086966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dirty="0">
                <a:solidFill>
                  <a:prstClr val="black"/>
                </a:solidFill>
              </a:rPr>
              <a:t>V této variantě modelů je kalkulována silná změna v populačních trendech již od prvního týdne v březnu</a:t>
            </a:r>
            <a:r>
              <a:rPr lang="cs-CZ" dirty="0" smtClean="0">
                <a:solidFill>
                  <a:prstClr val="black"/>
                </a:solidFill>
              </a:rPr>
              <a:t>,</a:t>
            </a:r>
          </a:p>
          <a:p>
            <a:pPr lvl="0" algn="ctr">
              <a:defRPr/>
            </a:pPr>
            <a:r>
              <a:rPr lang="cs-CZ" dirty="0" smtClean="0">
                <a:solidFill>
                  <a:prstClr val="black"/>
                </a:solidFill>
              </a:rPr>
              <a:t> </a:t>
            </a:r>
            <a:r>
              <a:rPr lang="cs-CZ" dirty="0">
                <a:solidFill>
                  <a:prstClr val="black"/>
                </a:solidFill>
              </a:rPr>
              <a:t>s následným pozitivním dopadem na zátěž nemocnic od cca 14.3. 2021. </a:t>
            </a:r>
          </a:p>
        </p:txBody>
      </p:sp>
    </p:spTree>
    <p:extLst>
      <p:ext uri="{BB962C8B-B14F-4D97-AF65-F5344CB8AC3E}">
        <p14:creationId xmlns:p14="http://schemas.microsoft.com/office/powerpoint/2010/main" val="254518272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41403" y="178376"/>
            <a:ext cx="1188491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3200" b="1" kern="0" dirty="0">
                <a:solidFill>
                  <a:prstClr val="black"/>
                </a:solidFill>
              </a:rPr>
              <a:t>Dlouhodobější predikce vývoje zátěže nemocnic a zdravotních dopadů: modely kalkulující s rychlým efektem přijatých opatření</a:t>
            </a:r>
          </a:p>
          <a:p>
            <a:pPr lvl="0" algn="ctr">
              <a:defRPr/>
            </a:pPr>
            <a:r>
              <a:rPr lang="cs-CZ" sz="3200" b="1" kern="0" dirty="0">
                <a:solidFill>
                  <a:prstClr val="black"/>
                </a:solidFill>
              </a:rPr>
              <a:t> již od 8.3. 2021</a:t>
            </a:r>
            <a:endParaRPr lang="cs-CZ" sz="3200" b="1" kern="0" dirty="0">
              <a:solidFill>
                <a:prstClr val="black"/>
              </a:solidFill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19203" y="1823935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1186296" y="2590711"/>
            <a:ext cx="950595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kern="0" dirty="0">
                <a:solidFill>
                  <a:prstClr val="black"/>
                </a:solidFill>
              </a:rPr>
              <a:t>V této variantě modelů je kalkulována </a:t>
            </a:r>
            <a:r>
              <a:rPr lang="cs-CZ" kern="0" dirty="0" smtClean="0">
                <a:solidFill>
                  <a:prstClr val="black"/>
                </a:solidFill>
              </a:rPr>
              <a:t>relativně rychlá změna </a:t>
            </a:r>
            <a:r>
              <a:rPr lang="cs-CZ" kern="0" dirty="0">
                <a:solidFill>
                  <a:prstClr val="black"/>
                </a:solidFill>
              </a:rPr>
              <a:t>v populačních trendech </a:t>
            </a:r>
            <a:r>
              <a:rPr lang="cs-CZ" kern="0" dirty="0" smtClean="0">
                <a:solidFill>
                  <a:prstClr val="black"/>
                </a:solidFill>
              </a:rPr>
              <a:t>již od počátku března, </a:t>
            </a:r>
            <a:r>
              <a:rPr lang="cs-CZ" kern="0" dirty="0">
                <a:solidFill>
                  <a:prstClr val="black"/>
                </a:solidFill>
              </a:rPr>
              <a:t>s </a:t>
            </a:r>
            <a:r>
              <a:rPr lang="cs-CZ" kern="0" dirty="0" smtClean="0">
                <a:solidFill>
                  <a:prstClr val="black"/>
                </a:solidFill>
              </a:rPr>
              <a:t>pozitivním </a:t>
            </a:r>
            <a:r>
              <a:rPr lang="cs-CZ" kern="0" dirty="0">
                <a:solidFill>
                  <a:prstClr val="black"/>
                </a:solidFill>
              </a:rPr>
              <a:t>dopadem na zátěž nemocnic od cca </a:t>
            </a:r>
            <a:r>
              <a:rPr lang="cs-CZ" kern="0" dirty="0" smtClean="0">
                <a:solidFill>
                  <a:prstClr val="black"/>
                </a:solidFill>
              </a:rPr>
              <a:t>14.3</a:t>
            </a:r>
            <a:r>
              <a:rPr lang="cs-CZ" kern="0" dirty="0">
                <a:solidFill>
                  <a:prstClr val="black"/>
                </a:solidFill>
              </a:rPr>
              <a:t>. 2021</a:t>
            </a:r>
            <a:r>
              <a:rPr lang="cs-CZ" kern="0" dirty="0" smtClean="0">
                <a:solidFill>
                  <a:prstClr val="black"/>
                </a:solidFill>
              </a:rPr>
              <a:t>. Zátěž nemocnic bude pravděpodobně kulminovat až do poloviny března.  </a:t>
            </a:r>
            <a:endParaRPr lang="cs-CZ" kern="0" dirty="0">
              <a:solidFill>
                <a:prstClr val="black"/>
              </a:solidFill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119202" y="3931769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514783" y="4905286"/>
            <a:ext cx="1084897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2400" b="1" kern="0" dirty="0" smtClean="0">
                <a:solidFill>
                  <a:srgbClr val="C00000"/>
                </a:solidFill>
              </a:rPr>
              <a:t>Vzhledem k stávajícímu populačnímu vývoji epidemie je tato varianta rychlého útlumu zátěže </a:t>
            </a:r>
            <a:r>
              <a:rPr lang="cs-CZ" sz="2400" b="1" u="sng" kern="0" dirty="0" smtClean="0">
                <a:solidFill>
                  <a:srgbClr val="C00000"/>
                </a:solidFill>
              </a:rPr>
              <a:t>významně méně pravděpodobná</a:t>
            </a:r>
            <a:r>
              <a:rPr lang="cs-CZ" sz="2400" b="1" kern="0" dirty="0" smtClean="0">
                <a:solidFill>
                  <a:srgbClr val="C00000"/>
                </a:solidFill>
              </a:rPr>
              <a:t> než modelové scénáře pro pomalý ústup epidemie. Důvodem relativně dlouhodobé zátěže nemocnic je stále vysoký denní počet nově nakažených pacientů z potenciálně zranitelných skupin. </a:t>
            </a:r>
            <a:endParaRPr lang="cs-CZ" sz="2400" b="1" kern="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2277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41403" y="178376"/>
            <a:ext cx="1188491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ější predikce vývoje zátěže nemocnic a zdravotních dopadů: modely kalkulující s rychlým efektem přijatých opatřen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iž od 8.3. 2021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19203" y="1823935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ovéPole 3"/>
          <p:cNvSpPr txBox="1"/>
          <p:nvPr/>
        </p:nvSpPr>
        <p:spPr>
          <a:xfrm>
            <a:off x="226241" y="2550863"/>
            <a:ext cx="1982772" cy="92333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lová změna nebo rozvolnění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226241" y="4116257"/>
            <a:ext cx="1982772" cy="923330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držení a částečné posílení opatření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226241" y="5772182"/>
            <a:ext cx="1982772" cy="923330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znamné posílení opatření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/>
          <p:cNvSpPr txBox="1"/>
          <p:nvPr/>
        </p:nvSpPr>
        <p:spPr>
          <a:xfrm>
            <a:off x="2328419" y="2458530"/>
            <a:ext cx="697583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ý scénář pro kontinuální nárůst celkového počtu hospitalizovaných v březnu až k hranici &gt; 14 000, přičemž na JIP reálně hrozí počet až 2 000 hospitalizací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/>
        </p:nvSpPr>
        <p:spPr>
          <a:xfrm>
            <a:off x="2328419" y="4023924"/>
            <a:ext cx="697583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tinuální nárůst celkového počtu hospitalizovaných na počátku března až k hranici &gt; 8 000, od druhé poloviny března postupný sestup. Počty na JIP pravděpodobně překročí hranici 1 600. 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2328419" y="5679849"/>
            <a:ext cx="697583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račující nárůst celkového počtu hospitalizovaných na počátku března až k hranici &gt; 8 000, od druhé poloviny března zrychlený sestup. Počty na JIP pravděpodobně nepřekročí hranici 1 600. 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9210675" y="2408096"/>
            <a:ext cx="2893807" cy="4247317"/>
          </a:xfrm>
          <a:prstGeom prst="rect">
            <a:avLst/>
          </a:prstGeom>
          <a:solidFill>
            <a:srgbClr val="EAEFF7"/>
          </a:solidFill>
          <a:ln w="12700"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této variantě modelů je kalkulována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lná změna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čních trendech již od prvního týdne v březnu, s následným pozitivním dopadem na zátěž nemocnic od cca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3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ý scénář A slouží pouze jako referenční modelový popis nekontrolované eskalace epidemie. Vzhledem k přijatým opatřením je tento scénář nepravděpodobný. 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44612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Chart 4">
            <a:extLst>
              <a:ext uri="{FF2B5EF4-FFF2-40B4-BE49-F238E27FC236}">
                <a16:creationId xmlns:a16="http://schemas.microsoft.com/office/drawing/2014/main" id="{B60B2543-14DB-4D39-81E0-A97A380AFC7E}"/>
              </a:ext>
            </a:extLst>
          </p:cNvPr>
          <p:cNvGraphicFramePr/>
          <p:nvPr>
            <p:extLst/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ovéPole 8"/>
          <p:cNvSpPr txBox="1"/>
          <p:nvPr/>
        </p:nvSpPr>
        <p:spPr>
          <a:xfrm>
            <a:off x="405093" y="428942"/>
            <a:ext cx="113818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nově diagnostikovaných mírně klesají</a:t>
            </a:r>
          </a:p>
        </p:txBody>
      </p:sp>
      <p:sp>
        <p:nvSpPr>
          <p:cNvPr id="64" name="Obdélník 63"/>
          <p:cNvSpPr/>
          <p:nvPr/>
        </p:nvSpPr>
        <p:spPr>
          <a:xfrm>
            <a:off x="901603" y="3321650"/>
            <a:ext cx="4647339" cy="400110"/>
          </a:xfrm>
          <a:prstGeom prst="rect">
            <a:avLst/>
          </a:prstGeom>
          <a:solidFill>
            <a:srgbClr val="9E0D34"/>
          </a:solidFill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ktuální odhad R pro ČR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0,96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C76F44F0-B718-4463-9C98-D1E4F304AFA9}"/>
              </a:ext>
            </a:extLst>
          </p:cNvPr>
          <p:cNvSpPr txBox="1"/>
          <p:nvPr/>
        </p:nvSpPr>
        <p:spPr>
          <a:xfrm>
            <a:off x="9648302" y="2191639"/>
            <a:ext cx="836689" cy="338554"/>
          </a:xfrm>
          <a:prstGeom prst="rect">
            <a:avLst/>
          </a:prstGeom>
          <a:solidFill>
            <a:srgbClr val="9A00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7EEA352-BB0D-435E-B2E3-CB89C49F036E}"/>
              </a:ext>
            </a:extLst>
          </p:cNvPr>
          <p:cNvSpPr txBox="1"/>
          <p:nvPr/>
        </p:nvSpPr>
        <p:spPr>
          <a:xfrm>
            <a:off x="3612493" y="2171998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9641C40E-C6C4-4668-AEEA-1A2A7AD7A61F}"/>
              </a:ext>
            </a:extLst>
          </p:cNvPr>
          <p:cNvSpPr txBox="1"/>
          <p:nvPr/>
        </p:nvSpPr>
        <p:spPr>
          <a:xfrm>
            <a:off x="5685899" y="2171998"/>
            <a:ext cx="836689" cy="338554"/>
          </a:xfrm>
          <a:prstGeom prst="rect">
            <a:avLst/>
          </a:prstGeom>
          <a:solidFill>
            <a:srgbClr val="9A00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1F148CDE-D215-4146-8263-D72977E77DB8}"/>
              </a:ext>
            </a:extLst>
          </p:cNvPr>
          <p:cNvSpPr txBox="1"/>
          <p:nvPr/>
        </p:nvSpPr>
        <p:spPr>
          <a:xfrm>
            <a:off x="7664243" y="2171998"/>
            <a:ext cx="836689" cy="338554"/>
          </a:xfrm>
          <a:prstGeom prst="rect">
            <a:avLst/>
          </a:prstGeom>
          <a:solidFill>
            <a:srgbClr val="9A00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Zahnutá šipka nahoru 25">
            <a:extLst>
              <a:ext uri="{FF2B5EF4-FFF2-40B4-BE49-F238E27FC236}">
                <a16:creationId xmlns:a16="http://schemas.microsoft.com/office/drawing/2014/main" id="{4D09777D-F7F7-4100-B90B-E8A38F36BD3B}"/>
              </a:ext>
            </a:extLst>
          </p:cNvPr>
          <p:cNvSpPr/>
          <p:nvPr/>
        </p:nvSpPr>
        <p:spPr>
          <a:xfrm>
            <a:off x="3008871" y="2261624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Zahnutá šipka nahoru 25">
            <a:extLst>
              <a:ext uri="{FF2B5EF4-FFF2-40B4-BE49-F238E27FC236}">
                <a16:creationId xmlns:a16="http://schemas.microsoft.com/office/drawing/2014/main" id="{4AA4A7AF-9067-4A97-89F2-F63A205B83F2}"/>
              </a:ext>
            </a:extLst>
          </p:cNvPr>
          <p:cNvSpPr/>
          <p:nvPr/>
        </p:nvSpPr>
        <p:spPr>
          <a:xfrm>
            <a:off x="5079481" y="2261624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Zahnutá šipka nahoru 25">
            <a:extLst>
              <a:ext uri="{FF2B5EF4-FFF2-40B4-BE49-F238E27FC236}">
                <a16:creationId xmlns:a16="http://schemas.microsoft.com/office/drawing/2014/main" id="{F98D6B77-D286-4627-B83C-474B197341BB}"/>
              </a:ext>
            </a:extLst>
          </p:cNvPr>
          <p:cNvSpPr/>
          <p:nvPr/>
        </p:nvSpPr>
        <p:spPr>
          <a:xfrm>
            <a:off x="7132339" y="2261624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Zahnutá šipka nahoru 25">
            <a:extLst>
              <a:ext uri="{FF2B5EF4-FFF2-40B4-BE49-F238E27FC236}">
                <a16:creationId xmlns:a16="http://schemas.microsoft.com/office/drawing/2014/main" id="{BB4636D2-8DD2-4859-9122-DB8AE6DD6C95}"/>
              </a:ext>
            </a:extLst>
          </p:cNvPr>
          <p:cNvSpPr/>
          <p:nvPr/>
        </p:nvSpPr>
        <p:spPr>
          <a:xfrm>
            <a:off x="9165560" y="2261711"/>
            <a:ext cx="2011680" cy="497840"/>
          </a:xfrm>
          <a:prstGeom prst="curvedUp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Zahnutá šipka nahoru 25">
            <a:extLst>
              <a:ext uri="{FF2B5EF4-FFF2-40B4-BE49-F238E27FC236}">
                <a16:creationId xmlns:a16="http://schemas.microsoft.com/office/drawing/2014/main" id="{C0F50A7D-FEDE-4605-9273-7AB3500A4CB9}"/>
              </a:ext>
            </a:extLst>
          </p:cNvPr>
          <p:cNvSpPr/>
          <p:nvPr/>
        </p:nvSpPr>
        <p:spPr>
          <a:xfrm>
            <a:off x="901603" y="2261624"/>
            <a:ext cx="201168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9D8BD0D1-E26D-4C02-8DED-01D9AC2E2721}"/>
              </a:ext>
            </a:extLst>
          </p:cNvPr>
          <p:cNvSpPr txBox="1"/>
          <p:nvPr/>
        </p:nvSpPr>
        <p:spPr>
          <a:xfrm>
            <a:off x="1623365" y="2171998"/>
            <a:ext cx="836689" cy="338554"/>
          </a:xfrm>
          <a:prstGeom prst="rect">
            <a:avLst/>
          </a:prstGeom>
          <a:solidFill>
            <a:srgbClr val="9A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52" name="Tabulka 4">
            <a:extLst>
              <a:ext uri="{FF2B5EF4-FFF2-40B4-BE49-F238E27FC236}">
                <a16:creationId xmlns:a16="http://schemas.microsoft.com/office/drawing/2014/main" id="{DD94A3DB-F119-41F1-9FC9-20CE0E9C061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79059" y="1819596"/>
          <a:ext cx="118800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0000">
                  <a:extLst>
                    <a:ext uri="{9D8B030D-6E8A-4147-A177-3AD203B41FA5}">
                      <a16:colId xmlns:a16="http://schemas.microsoft.com/office/drawing/2014/main" val="3261913761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3754285602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2764063676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544989849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1380738768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43592556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6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7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9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29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59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6859167"/>
                  </a:ext>
                </a:extLst>
              </a:tr>
            </a:tbl>
          </a:graphicData>
        </a:graphic>
      </p:graphicFrame>
      <p:sp>
        <p:nvSpPr>
          <p:cNvPr id="53" name="Šipka doprava 58">
            <a:extLst>
              <a:ext uri="{FF2B5EF4-FFF2-40B4-BE49-F238E27FC236}">
                <a16:creationId xmlns:a16="http://schemas.microsoft.com/office/drawing/2014/main" id="{C96C5F24-960C-4658-9BB4-A621DED2DD89}"/>
              </a:ext>
            </a:extLst>
          </p:cNvPr>
          <p:cNvSpPr/>
          <p:nvPr/>
        </p:nvSpPr>
        <p:spPr>
          <a:xfrm rot="1225461" flipV="1">
            <a:off x="11028119" y="3682547"/>
            <a:ext cx="521883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4" name="Tabulka 6">
            <a:extLst>
              <a:ext uri="{FF2B5EF4-FFF2-40B4-BE49-F238E27FC236}">
                <a16:creationId xmlns:a16="http://schemas.microsoft.com/office/drawing/2014/main" id="{46456BE7-EE59-4001-B1F8-6A435E14C3E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319572" y="2154387"/>
          <a:ext cx="9481821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8000">
                  <a:extLst>
                    <a:ext uri="{9D8B030D-6E8A-4147-A177-3AD203B41FA5}">
                      <a16:colId xmlns:a16="http://schemas.microsoft.com/office/drawing/2014/main" val="4256108201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109467333"/>
                    </a:ext>
                  </a:extLst>
                </a:gridCol>
                <a:gridCol w="1394394">
                  <a:extLst>
                    <a:ext uri="{9D8B030D-6E8A-4147-A177-3AD203B41FA5}">
                      <a16:colId xmlns:a16="http://schemas.microsoft.com/office/drawing/2014/main" val="2436049300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390204682"/>
                    </a:ext>
                  </a:extLst>
                </a:gridCol>
                <a:gridCol w="1411809">
                  <a:extLst>
                    <a:ext uri="{9D8B030D-6E8A-4147-A177-3AD203B41FA5}">
                      <a16:colId xmlns:a16="http://schemas.microsoft.com/office/drawing/2014/main" val="3269273156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1376497500"/>
                    </a:ext>
                  </a:extLst>
                </a:gridCol>
                <a:gridCol w="1411809">
                  <a:extLst>
                    <a:ext uri="{9D8B030D-6E8A-4147-A177-3AD203B41FA5}">
                      <a16:colId xmlns:a16="http://schemas.microsoft.com/office/drawing/2014/main" val="1556511901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116966130"/>
                    </a:ext>
                  </a:extLst>
                </a:gridCol>
                <a:gridCol w="1411809">
                  <a:extLst>
                    <a:ext uri="{9D8B030D-6E8A-4147-A177-3AD203B41FA5}">
                      <a16:colId xmlns:a16="http://schemas.microsoft.com/office/drawing/2014/main" val="191361939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5,9 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3,0 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8,4 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5,0 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,7 %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0114"/>
                  </a:ext>
                </a:extLst>
              </a:tr>
            </a:tbl>
          </a:graphicData>
        </a:graphic>
      </p:graphicFrame>
      <p:sp>
        <p:nvSpPr>
          <p:cNvPr id="55" name="TextovéPole 54">
            <a:extLst>
              <a:ext uri="{FF2B5EF4-FFF2-40B4-BE49-F238E27FC236}">
                <a16:creationId xmlns:a16="http://schemas.microsoft.com/office/drawing/2014/main" id="{947CB8A9-1BE0-4680-A6A5-CD0B5D669149}"/>
              </a:ext>
            </a:extLst>
          </p:cNvPr>
          <p:cNvSpPr txBox="1"/>
          <p:nvPr/>
        </p:nvSpPr>
        <p:spPr>
          <a:xfrm>
            <a:off x="181394" y="1228562"/>
            <a:ext cx="1962823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záchy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8. 1.–3. 2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A7EFB2AA-15E4-4E9F-B817-135EEFC9CA8F}"/>
              </a:ext>
            </a:extLst>
          </p:cNvPr>
          <p:cNvSpPr txBox="1"/>
          <p:nvPr/>
        </p:nvSpPr>
        <p:spPr>
          <a:xfrm>
            <a:off x="2232994" y="1228562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záchy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. 2.–10. 2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7" name="TextovéPole 56">
            <a:extLst>
              <a:ext uri="{FF2B5EF4-FFF2-40B4-BE49-F238E27FC236}">
                <a16:creationId xmlns:a16="http://schemas.microsoft.com/office/drawing/2014/main" id="{1F850ECD-6535-435D-8687-DCAA055429DC}"/>
              </a:ext>
            </a:extLst>
          </p:cNvPr>
          <p:cNvSpPr txBox="1"/>
          <p:nvPr/>
        </p:nvSpPr>
        <p:spPr>
          <a:xfrm>
            <a:off x="4200118" y="1222303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záchy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1. 2.–17. 2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8" name="TextovéPole 57">
            <a:extLst>
              <a:ext uri="{FF2B5EF4-FFF2-40B4-BE49-F238E27FC236}">
                <a16:creationId xmlns:a16="http://schemas.microsoft.com/office/drawing/2014/main" id="{FE8E4292-7DDA-4597-B44D-355AFDA63E8C}"/>
              </a:ext>
            </a:extLst>
          </p:cNvPr>
          <p:cNvSpPr txBox="1"/>
          <p:nvPr/>
        </p:nvSpPr>
        <p:spPr>
          <a:xfrm>
            <a:off x="6164255" y="1222303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záchy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8. 2.–24. 2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58F177E6-81C7-48E9-BB87-26FE17AF8350}"/>
              </a:ext>
            </a:extLst>
          </p:cNvPr>
          <p:cNvSpPr txBox="1"/>
          <p:nvPr/>
        </p:nvSpPr>
        <p:spPr>
          <a:xfrm>
            <a:off x="8144612" y="1221894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záchy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5. 2.–3. 3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D9904B2-4E4D-4862-AD60-FABCD83A98F1}"/>
              </a:ext>
            </a:extLst>
          </p:cNvPr>
          <p:cNvSpPr txBox="1"/>
          <p:nvPr/>
        </p:nvSpPr>
        <p:spPr>
          <a:xfrm>
            <a:off x="10108749" y="1234219"/>
            <a:ext cx="1867988" cy="58477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ůměrný záchy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. 3.–10. 3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8478482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aktuálně hospitalizovaných</a:t>
            </a:r>
            <a:endParaRPr lang="cs-CZ" dirty="0">
              <a:latin typeface="+mj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2999926" y="590503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13" name="Obdélník 34">
            <a:extLst>
              <a:ext uri="{FF2B5EF4-FFF2-40B4-BE49-F238E27FC236}">
                <a16:creationId xmlns:a16="http://schemas.microsoft.com/office/drawing/2014/main" id="{10A758A9-D40B-4B7F-8B07-A73E8D4EED72}"/>
              </a:ext>
            </a:extLst>
          </p:cNvPr>
          <p:cNvSpPr/>
          <p:nvPr/>
        </p:nvSpPr>
        <p:spPr>
          <a:xfrm>
            <a:off x="8200670" y="1001503"/>
            <a:ext cx="399953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 A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ekt opatření od 28.12. - snížení pracovních kontaktů na 40 %, školní kontakty na 0 %, snížení jiných kontaktů na 40 %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žení základní reprodukce o 10%, školní kontakty na 30 % od 4.1.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5.1. - zvýšení základní reprodukce o 70 %</a:t>
            </a: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dále nekontrolovaná eskalace epidemie bez opatření (simulace šíření nakažlivějších forem viru, simulace nedodržování opatření) </a:t>
            </a:r>
          </a:p>
        </p:txBody>
      </p:sp>
      <p:sp>
        <p:nvSpPr>
          <p:cNvPr id="14" name="Obdélník 34">
            <a:extLst>
              <a:ext uri="{FF2B5EF4-FFF2-40B4-BE49-F238E27FC236}">
                <a16:creationId xmlns:a16="http://schemas.microsoft.com/office/drawing/2014/main" id="{AD3134CF-04A5-46A6-97BA-A406137FE2B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200670" y="3214181"/>
            <a:ext cx="399953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 B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5.1. - zvýšení základní reprodukce o 70 % (simulace šíření nakažlivějších forem viru)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ekt opatření od 1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snížení pracovních kontaktů na 30 %, školní kontakty na 0 %, postupné snížení jiných kontaktů na 30 % s dalším efektem opatření přijatých od 1.3. </a:t>
            </a:r>
          </a:p>
        </p:txBody>
      </p:sp>
      <p:sp>
        <p:nvSpPr>
          <p:cNvPr id="15" name="Obdélník 34">
            <a:extLst>
              <a:ext uri="{FF2B5EF4-FFF2-40B4-BE49-F238E27FC236}">
                <a16:creationId xmlns:a16="http://schemas.microsoft.com/office/drawing/2014/main" id="{C639DFA8-B71E-4FE7-9F76-FA4A424103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200670" y="5287901"/>
            <a:ext cx="399953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CD6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 C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5.1. - zvýšení základní reprodukce o 70 % (simulace zavedení emergentní mutace)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ekt opatření od 1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snížení pracovních kontaktů na 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 %, 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kolní kontakty na 0 %, snížení jiných kontaktů na 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 - 25% 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 dalším efektem opatření přijatých od 1.3. </a:t>
            </a:r>
          </a:p>
        </p:txBody>
      </p:sp>
      <p:sp>
        <p:nvSpPr>
          <p:cNvPr id="10" name="TextovéPole 9"/>
          <p:cNvSpPr txBox="1"/>
          <p:nvPr/>
        </p:nvSpPr>
        <p:spPr>
          <a:xfrm>
            <a:off x="10348107" y="775170"/>
            <a:ext cx="1515221" cy="43088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ulová změna nebo rozvolnění 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ovéPole 10"/>
          <p:cNvSpPr txBox="1"/>
          <p:nvPr/>
        </p:nvSpPr>
        <p:spPr>
          <a:xfrm>
            <a:off x="10456748" y="2998737"/>
            <a:ext cx="1515221" cy="430887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držení a částečné posílení opatření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11"/>
          <p:cNvSpPr txBox="1"/>
          <p:nvPr/>
        </p:nvSpPr>
        <p:spPr>
          <a:xfrm>
            <a:off x="10456748" y="5072457"/>
            <a:ext cx="1515221" cy="430887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znamné posílení opatření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ovéPole 15"/>
          <p:cNvSpPr txBox="1"/>
          <p:nvPr/>
        </p:nvSpPr>
        <p:spPr>
          <a:xfrm>
            <a:off x="4866326" y="1464204"/>
            <a:ext cx="2587420" cy="43088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pravděpodobný scénář:</a:t>
            </a:r>
            <a:r>
              <a:rPr kumimoji="0" lang="cs-CZ" sz="1100" b="1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ekontrolované šíření nákazy 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612888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aktuálně hospitalizovaných</a:t>
            </a:r>
            <a:r>
              <a:rPr lang="en-US" u="sng" dirty="0">
                <a:latin typeface="+mj-lt"/>
              </a:rPr>
              <a:t> </a:t>
            </a:r>
            <a:r>
              <a:rPr lang="en-US" u="sng" dirty="0" err="1">
                <a:latin typeface="+mj-lt"/>
              </a:rPr>
              <a:t>na</a:t>
            </a:r>
            <a:r>
              <a:rPr lang="en-US" u="sng" dirty="0">
                <a:latin typeface="+mj-lt"/>
              </a:rPr>
              <a:t> JIP</a:t>
            </a:r>
            <a:endParaRPr lang="cs-CZ" dirty="0"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497FCDE3-750D-44E8-975C-7E77DD5F49D6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80B364D7-B9DD-4ACF-A330-0F27E8BA3BF5}"/>
              </a:ext>
            </a:extLst>
          </p:cNvPr>
          <p:cNvSpPr/>
          <p:nvPr/>
        </p:nvSpPr>
        <p:spPr>
          <a:xfrm>
            <a:off x="2999926" y="590503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13" name="Obdélník 34">
            <a:extLst>
              <a:ext uri="{FF2B5EF4-FFF2-40B4-BE49-F238E27FC236}">
                <a16:creationId xmlns:a16="http://schemas.microsoft.com/office/drawing/2014/main" id="{10A758A9-D40B-4B7F-8B07-A73E8D4EED72}"/>
              </a:ext>
            </a:extLst>
          </p:cNvPr>
          <p:cNvSpPr/>
          <p:nvPr/>
        </p:nvSpPr>
        <p:spPr>
          <a:xfrm>
            <a:off x="8200670" y="1001503"/>
            <a:ext cx="399953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 A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ekt opatření od 28.12. - snížení pracovních kontaktů na 40 %, školní kontakty na 0 %, snížení jiných kontaktů na 40 %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žení základní reprodukce o 10%, školní kontakty na 30 % od 4.1.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5.1. - zvýšení základní reprodukce o 70 %</a:t>
            </a: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dále nekontrolovaná eskalace epidemie bez opatření (simulace šíření nakažlivějších forem viru, simulace nedodržování opatření) </a:t>
            </a:r>
          </a:p>
        </p:txBody>
      </p:sp>
      <p:sp>
        <p:nvSpPr>
          <p:cNvPr id="14" name="Obdélník 34">
            <a:extLst>
              <a:ext uri="{FF2B5EF4-FFF2-40B4-BE49-F238E27FC236}">
                <a16:creationId xmlns:a16="http://schemas.microsoft.com/office/drawing/2014/main" id="{AD3134CF-04A5-46A6-97BA-A406137FE2B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200670" y="3214181"/>
            <a:ext cx="399953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 B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5.1. - zvýšení základní reprodukce o 70 % (simulace šíření nakažlivějších forem viru)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ekt opatření od 1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snížení pracovních kontaktů na 30 %, školní kontakty na 0 %, postupné snížení jiných kontaktů na 30 % s dalším efektem opatření přijatých od 1.3. </a:t>
            </a:r>
          </a:p>
        </p:txBody>
      </p:sp>
      <p:sp>
        <p:nvSpPr>
          <p:cNvPr id="15" name="Obdélník 34">
            <a:extLst>
              <a:ext uri="{FF2B5EF4-FFF2-40B4-BE49-F238E27FC236}">
                <a16:creationId xmlns:a16="http://schemas.microsoft.com/office/drawing/2014/main" id="{C639DFA8-B71E-4FE7-9F76-FA4A424103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200670" y="5287901"/>
            <a:ext cx="399953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CD6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 C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5.1. - zvýšení základní reprodukce o 70 % (simulace zavedení emergentní mutace)</a:t>
            </a:r>
          </a:p>
          <a:p>
            <a:pPr marL="25717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ekt opatření od 1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snížení pracovních kontaktů na 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 %, 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kolní kontakty na 0 %, snížení jiných kontaktů na </a:t>
            </a:r>
            <a:r>
              <a:rPr kumimoji="0" lang="cs-CZ" sz="12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 - 25% 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 dalším efektem opatření přijatých od 1.3. </a:t>
            </a:r>
          </a:p>
        </p:txBody>
      </p:sp>
      <p:sp>
        <p:nvSpPr>
          <p:cNvPr id="20" name="TextovéPole 19"/>
          <p:cNvSpPr txBox="1"/>
          <p:nvPr/>
        </p:nvSpPr>
        <p:spPr>
          <a:xfrm>
            <a:off x="10348107" y="775170"/>
            <a:ext cx="1515221" cy="43088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ulová změna nebo rozvolnění 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extovéPole 20"/>
          <p:cNvSpPr txBox="1"/>
          <p:nvPr/>
        </p:nvSpPr>
        <p:spPr>
          <a:xfrm>
            <a:off x="10456748" y="2998737"/>
            <a:ext cx="1515221" cy="430887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držení a částečné posílení opatření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ovéPole 21"/>
          <p:cNvSpPr txBox="1"/>
          <p:nvPr/>
        </p:nvSpPr>
        <p:spPr>
          <a:xfrm>
            <a:off x="10456748" y="5072457"/>
            <a:ext cx="1515221" cy="430887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znamné posílení opatření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ovéPole 15"/>
          <p:cNvSpPr txBox="1"/>
          <p:nvPr/>
        </p:nvSpPr>
        <p:spPr>
          <a:xfrm>
            <a:off x="4792435" y="1944494"/>
            <a:ext cx="2587420" cy="43088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pravděpodobný scénář:</a:t>
            </a:r>
            <a:r>
              <a:rPr kumimoji="0" lang="cs-CZ" sz="1100" b="1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ekontrolované šíření nákazy 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488046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140532"/>
          </a:xfrm>
        </p:spPr>
        <p:txBody>
          <a:bodyPr>
            <a:normAutofit/>
          </a:bodyPr>
          <a:lstStyle/>
          <a:p>
            <a:r>
              <a:rPr lang="cs-CZ" sz="5200" b="1" dirty="0" smtClean="0"/>
              <a:t>Krátkodobé predikce zátěže nemocnic</a:t>
            </a:r>
          </a:p>
          <a:p>
            <a:r>
              <a:rPr lang="cs-CZ" sz="5200" i="1" dirty="0" smtClean="0"/>
              <a:t>Verifikace modelů k 11.3. 2021</a:t>
            </a:r>
            <a:endParaRPr lang="cs-CZ" sz="5200" i="1" dirty="0"/>
          </a:p>
        </p:txBody>
      </p:sp>
    </p:spTree>
    <p:extLst>
      <p:ext uri="{BB962C8B-B14F-4D97-AF65-F5344CB8AC3E}">
        <p14:creationId xmlns:p14="http://schemas.microsoft.com/office/powerpoint/2010/main" val="4202401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57326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átkodobé predikce potenciálního rizika: celkový počet hospitalizací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834075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/>
        </p:nvSpPr>
        <p:spPr>
          <a:xfrm rot="16200000">
            <a:off x="-1409759" y="3653089"/>
            <a:ext cx="35745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kutečný a predikovaný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ů na lůžku v daný den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4E5A0889-8AFA-4629-94B0-900D48666510}"/>
              </a:ext>
            </a:extLst>
          </p:cNvPr>
          <p:cNvGrpSpPr/>
          <p:nvPr/>
        </p:nvGrpSpPr>
        <p:grpSpPr>
          <a:xfrm>
            <a:off x="6761972" y="960166"/>
            <a:ext cx="5397662" cy="951327"/>
            <a:chOff x="6462419" y="1469144"/>
            <a:chExt cx="5397662" cy="951327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0795BD6D-8565-489C-9B85-3CA018E2FF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2C441BBC-C381-4FA8-AF35-F6754043A8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7">
              <a:extLst>
                <a:ext uri="{FF2B5EF4-FFF2-40B4-BE49-F238E27FC236}">
                  <a16:creationId xmlns:a16="http://schemas.microsoft.com/office/drawing/2014/main" id="{3B4A904C-0978-4AAB-A720-8833584345AE}"/>
                </a:ext>
              </a:extLst>
            </p:cNvPr>
            <p:cNvSpPr txBox="1"/>
            <p:nvPr/>
          </p:nvSpPr>
          <p:spPr>
            <a:xfrm>
              <a:off x="6477789" y="1558500"/>
              <a:ext cx="538229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edikce</a:t>
              </a:r>
              <a:r>
                <a:rPr kumimoji="0" lang="cs-CZ" sz="14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počtu hospitalizovaných pacientů na základě modelů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ři parametrech nemoci z období 11/2020–02/2021 pro různé </a:t>
              </a:r>
              <a:r>
                <a:rPr kumimoji="0" lang="cs-CZ" sz="1400" b="0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cénáře</a:t>
              </a:r>
              <a:endPara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2" name="Skupina 41">
            <a:extLst>
              <a:ext uri="{FF2B5EF4-FFF2-40B4-BE49-F238E27FC236}">
                <a16:creationId xmlns:a16="http://schemas.microsoft.com/office/drawing/2014/main" id="{49262186-E45B-4BF1-9D9A-F8A337C3FCE1}"/>
              </a:ext>
            </a:extLst>
          </p:cNvPr>
          <p:cNvGrpSpPr/>
          <p:nvPr/>
        </p:nvGrpSpPr>
        <p:grpSpPr>
          <a:xfrm>
            <a:off x="10113164" y="3365106"/>
            <a:ext cx="1888984" cy="3385542"/>
            <a:chOff x="10270650" y="3526984"/>
            <a:chExt cx="1888984" cy="3385542"/>
          </a:xfrm>
        </p:grpSpPr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13D53C13-5FB2-417D-A6D5-83CF143B2642}"/>
                </a:ext>
              </a:extLst>
            </p:cNvPr>
            <p:cNvCxnSpPr>
              <a:cxnSpLocks/>
            </p:cNvCxnSpPr>
            <p:nvPr/>
          </p:nvCxnSpPr>
          <p:spPr>
            <a:xfrm>
              <a:off x="10270650" y="4094718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Přímá spojnice 44">
              <a:extLst>
                <a:ext uri="{FF2B5EF4-FFF2-40B4-BE49-F238E27FC236}">
                  <a16:creationId xmlns:a16="http://schemas.microsoft.com/office/drawing/2014/main" id="{17CCDECC-CBA2-478B-9341-666661CE29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72796" y="5403216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Obdélník 45">
              <a:extLst>
                <a:ext uri="{FF2B5EF4-FFF2-40B4-BE49-F238E27FC236}">
                  <a16:creationId xmlns:a16="http://schemas.microsoft.com/office/drawing/2014/main" id="{BF090220-B855-47F7-9F37-82D3829B328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TextovéPole 46">
              <a:extLst>
                <a:ext uri="{FF2B5EF4-FFF2-40B4-BE49-F238E27FC236}">
                  <a16:creationId xmlns:a16="http://schemas.microsoft.com/office/drawing/2014/main" id="{C548E92B-AFE4-4BF8-B9EB-002D5E319F2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33855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</a:t>
              </a:r>
              <a:r>
                <a:rPr kumimoji="0" lang="cs-CZ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izikový scénář, pokračující, dále nelimitovaný, růst epidemie (stávající hodnota R = 1,2)</a:t>
              </a:r>
              <a:endPara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cénář udržení a částečného posílení opatření </a:t>
              </a:r>
              <a:endPara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4D13EFBE-83F5-4C3E-BCE3-3F691B753FAF}"/>
                </a:ext>
              </a:extLst>
            </p:cNvPr>
            <p:cNvCxnSpPr>
              <a:cxnSpLocks/>
            </p:cNvCxnSpPr>
            <p:nvPr/>
          </p:nvCxnSpPr>
          <p:spPr>
            <a:xfrm>
              <a:off x="10270650" y="6206060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ovéPole 18"/>
          <p:cNvSpPr txBox="1"/>
          <p:nvPr/>
        </p:nvSpPr>
        <p:spPr>
          <a:xfrm>
            <a:off x="1434424" y="2019722"/>
            <a:ext cx="5111633" cy="338554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tenciální riziko &gt; 10 000 hospitalizací do 2 – 3 týdnů*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0" name="Přímá spojnice se šipkou 19"/>
          <p:cNvCxnSpPr/>
          <p:nvPr/>
        </p:nvCxnSpPr>
        <p:spPr>
          <a:xfrm flipH="1" flipV="1">
            <a:off x="1261000" y="2776528"/>
            <a:ext cx="8488218" cy="27709"/>
          </a:xfrm>
          <a:prstGeom prst="straightConnector1">
            <a:avLst/>
          </a:prstGeom>
          <a:ln w="19050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31">
            <a:extLst>
              <a:ext uri="{FF2B5EF4-FFF2-40B4-BE49-F238E27FC236}">
                <a16:creationId xmlns:a16="http://schemas.microsoft.com/office/drawing/2014/main" id="{EFD3DBCC-0951-4CCC-9F48-5D93B20D724A}"/>
              </a:ext>
            </a:extLst>
          </p:cNvPr>
          <p:cNvSpPr txBox="1"/>
          <p:nvPr/>
        </p:nvSpPr>
        <p:spPr>
          <a:xfrm>
            <a:off x="1355211" y="2356001"/>
            <a:ext cx="57760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Vysoce rizikový scénář kalkulující s omezeným dopadem přijatých opatření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slouží jako orientační varování pro přípravu a mobilizaci kapacit nemocniční péče.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3" name="Chart 11">
            <a:extLst>
              <a:ext uri="{FF2B5EF4-FFF2-40B4-BE49-F238E27FC236}">
                <a16:creationId xmlns:a16="http://schemas.microsoft.com/office/drawing/2014/main" id="{EECF08DB-855B-4B7A-A6AB-BF07E05B39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45158881"/>
              </p:ext>
            </p:extLst>
          </p:nvPr>
        </p:nvGraphicFramePr>
        <p:xfrm>
          <a:off x="602504" y="1554510"/>
          <a:ext cx="9322487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58520027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1243252" cy="51790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átkodobé 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potenciálního rizika: </a:t>
            </a: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ů vyžadujících intenzivní </a:t>
            </a: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éči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Box 31">
            <a:extLst>
              <a:ext uri="{FF2B5EF4-FFF2-40B4-BE49-F238E27FC236}">
                <a16:creationId xmlns:a16="http://schemas.microsoft.com/office/drawing/2014/main" id="{EFD3DBCC-0951-4CCC-9F48-5D93B20D724A}"/>
              </a:ext>
            </a:extLst>
          </p:cNvPr>
          <p:cNvSpPr txBox="1"/>
          <p:nvPr/>
        </p:nvSpPr>
        <p:spPr>
          <a:xfrm>
            <a:off x="1557888" y="3083478"/>
            <a:ext cx="57760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Vysoce rizikový scénář kalkulující s omezeným dopadem přijatých opatření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slouží jako orientační varování pro přípravu a mobilizaci kapacit nemocniční péče.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7293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ská republika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1E36EAA6-C4E8-4F61-8C7E-179133674960}"/>
              </a:ext>
            </a:extLst>
          </p:cNvPr>
          <p:cNvGrpSpPr/>
          <p:nvPr/>
        </p:nvGrpSpPr>
        <p:grpSpPr>
          <a:xfrm>
            <a:off x="6748158" y="1144894"/>
            <a:ext cx="5397662" cy="951327"/>
            <a:chOff x="6462419" y="1469144"/>
            <a:chExt cx="5397662" cy="951327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CC22ECAE-4360-43DF-89FF-3222EEC55D4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34">
              <a:extLst>
                <a:ext uri="{FF2B5EF4-FFF2-40B4-BE49-F238E27FC236}">
                  <a16:creationId xmlns:a16="http://schemas.microsoft.com/office/drawing/2014/main" id="{E2F149F2-E547-4511-8D4B-E14022C5229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TextBox 37">
              <a:extLst>
                <a:ext uri="{FF2B5EF4-FFF2-40B4-BE49-F238E27FC236}">
                  <a16:creationId xmlns:a16="http://schemas.microsoft.com/office/drawing/2014/main" id="{1828E70E-6E25-4EA2-8BDE-45DCD8CA5F57}"/>
                </a:ext>
              </a:extLst>
            </p:cNvPr>
            <p:cNvSpPr txBox="1"/>
            <p:nvPr/>
          </p:nvSpPr>
          <p:spPr>
            <a:xfrm>
              <a:off x="6477788" y="1558500"/>
              <a:ext cx="538229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edikce</a:t>
              </a:r>
              <a:r>
                <a:rPr kumimoji="0" lang="cs-CZ" sz="14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počtu hospitalizovaných pacientů na základě modelů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ři parametrech nemoci z období 11/2020–02/2021 pro různé </a:t>
              </a:r>
              <a:r>
                <a:rPr kumimoji="0" lang="cs-CZ" sz="1400" b="0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cénáře</a:t>
              </a:r>
              <a:endPara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49262186-E45B-4BF1-9D9A-F8A337C3FCE1}"/>
              </a:ext>
            </a:extLst>
          </p:cNvPr>
          <p:cNvGrpSpPr/>
          <p:nvPr/>
        </p:nvGrpSpPr>
        <p:grpSpPr>
          <a:xfrm>
            <a:off x="10147889" y="2783099"/>
            <a:ext cx="1888984" cy="3600986"/>
            <a:chOff x="10270650" y="3526984"/>
            <a:chExt cx="1888984" cy="3600986"/>
          </a:xfrm>
        </p:grpSpPr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13D53C13-5FB2-417D-A6D5-83CF143B2642}"/>
                </a:ext>
              </a:extLst>
            </p:cNvPr>
            <p:cNvCxnSpPr>
              <a:cxnSpLocks/>
            </p:cNvCxnSpPr>
            <p:nvPr/>
          </p:nvCxnSpPr>
          <p:spPr>
            <a:xfrm>
              <a:off x="10270650" y="4094718"/>
              <a:ext cx="360000" cy="0"/>
            </a:xfrm>
            <a:prstGeom prst="line">
              <a:avLst/>
            </a:prstGeom>
            <a:ln w="28575">
              <a:solidFill>
                <a:srgbClr val="8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17CCDECC-CBA2-478B-9341-666661CE29F9}"/>
                </a:ext>
              </a:extLst>
            </p:cNvPr>
            <p:cNvCxnSpPr>
              <a:cxnSpLocks/>
            </p:cNvCxnSpPr>
            <p:nvPr/>
          </p:nvCxnSpPr>
          <p:spPr>
            <a:xfrm>
              <a:off x="10304415" y="5599986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bdélník 32">
              <a:extLst>
                <a:ext uri="{FF2B5EF4-FFF2-40B4-BE49-F238E27FC236}">
                  <a16:creationId xmlns:a16="http://schemas.microsoft.com/office/drawing/2014/main" id="{BF090220-B855-47F7-9F37-82D3829B328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TextovéPole 33">
              <a:extLst>
                <a:ext uri="{FF2B5EF4-FFF2-40B4-BE49-F238E27FC236}">
                  <a16:creationId xmlns:a16="http://schemas.microsoft.com/office/drawing/2014/main" id="{C548E92B-AFE4-4BF8-B9EB-002D5E319F2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36009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</a:t>
              </a:r>
              <a:r>
                <a:rPr kumimoji="0" lang="cs-CZ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izikové scénáře, pokračující, dále nelimitovaný, růst epidemie (reprodukce R = 1,2 až &gt; 1,3)</a:t>
              </a:r>
              <a:endPara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cénář udržení a částečného posílení opatření </a:t>
              </a:r>
              <a:endPara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6" name="Přímá spojnice 35">
              <a:extLst>
                <a:ext uri="{FF2B5EF4-FFF2-40B4-BE49-F238E27FC236}">
                  <a16:creationId xmlns:a16="http://schemas.microsoft.com/office/drawing/2014/main" id="{4D13EFBE-83F5-4C3E-BCE3-3F691B753FAF}"/>
                </a:ext>
              </a:extLst>
            </p:cNvPr>
            <p:cNvCxnSpPr>
              <a:cxnSpLocks/>
            </p:cNvCxnSpPr>
            <p:nvPr/>
          </p:nvCxnSpPr>
          <p:spPr>
            <a:xfrm>
              <a:off x="10302269" y="6436303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ovéPole 36"/>
          <p:cNvSpPr txBox="1"/>
          <p:nvPr/>
        </p:nvSpPr>
        <p:spPr>
          <a:xfrm>
            <a:off x="1504196" y="2659306"/>
            <a:ext cx="5421704" cy="338554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tenciální riziko &gt; 2 000 hospitalizací na </a:t>
            </a:r>
            <a:r>
              <a:rPr kumimoji="0" lang="cs-CZ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</a:t>
            </a: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P do 2 – 3 týdnů *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8" name="Přímá spojnice se šipkou 37"/>
          <p:cNvCxnSpPr/>
          <p:nvPr/>
        </p:nvCxnSpPr>
        <p:spPr>
          <a:xfrm flipH="1" flipV="1">
            <a:off x="1395958" y="3101877"/>
            <a:ext cx="8488218" cy="27709"/>
          </a:xfrm>
          <a:prstGeom prst="straightConnector1">
            <a:avLst/>
          </a:prstGeom>
          <a:ln w="19050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/>
        </p:nvSpPr>
        <p:spPr>
          <a:xfrm rot="16200000">
            <a:off x="-1347629" y="3832435"/>
            <a:ext cx="35745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kutečný a predikovaný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ů na lůžku JIP v daný den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6" name="Přímá spojnice 25">
            <a:extLst>
              <a:ext uri="{FF2B5EF4-FFF2-40B4-BE49-F238E27FC236}">
                <a16:creationId xmlns:a16="http://schemas.microsoft.com/office/drawing/2014/main" id="{13D53C13-5FB2-417D-A6D5-83CF143B2642}"/>
              </a:ext>
            </a:extLst>
          </p:cNvPr>
          <p:cNvCxnSpPr>
            <a:cxnSpLocks/>
          </p:cNvCxnSpPr>
          <p:nvPr/>
        </p:nvCxnSpPr>
        <p:spPr>
          <a:xfrm>
            <a:off x="10176238" y="3584284"/>
            <a:ext cx="3600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5" name="Chart 11">
            <a:extLst>
              <a:ext uri="{FF2B5EF4-FFF2-40B4-BE49-F238E27FC236}">
                <a16:creationId xmlns:a16="http://schemas.microsoft.com/office/drawing/2014/main" id="{27A69E5F-8F44-411E-8B21-09211810E4A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42465825"/>
              </p:ext>
            </p:extLst>
          </p:nvPr>
        </p:nvGraphicFramePr>
        <p:xfrm>
          <a:off x="721411" y="1891795"/>
          <a:ext cx="9322487" cy="4527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67126949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8660" y="103163"/>
            <a:ext cx="11537512" cy="1951268"/>
          </a:xfrm>
        </p:spPr>
        <p:txBody>
          <a:bodyPr>
            <a:normAutofit/>
          </a:bodyPr>
          <a:lstStyle/>
          <a:p>
            <a:r>
              <a:rPr lang="cs-CZ" sz="3600" b="1" dirty="0"/>
              <a:t>Rizikový vývoj epidemie významně  zvyšuje zátěž nemocnic, které se v zatížených regionech dostávají na limit  kapacit zejména v intenzivní péči. </a:t>
            </a:r>
          </a:p>
        </p:txBody>
      </p:sp>
      <p:sp>
        <p:nvSpPr>
          <p:cNvPr id="5" name="TextovéPole 4"/>
          <p:cNvSpPr txBox="1"/>
          <p:nvPr/>
        </p:nvSpPr>
        <p:spPr>
          <a:xfrm>
            <a:off x="157742" y="3065322"/>
            <a:ext cx="11619345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mnoha regionech je pro kapacity limitující dostupnost personálu. Funkční lůžko na intenzivní péči vyžaduje vysoce erudovaný personál. Zátěž nemocnic dále zvyšuje fakt, že 20 – 25% pacientů vyléčených z COVID vyžaduje pokračující nemocniční péči, včetně péče vysoce intenzivní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343961" y="2161361"/>
            <a:ext cx="1246909" cy="523206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343959" y="5881869"/>
            <a:ext cx="1246909" cy="523206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193768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9448799" y="2400085"/>
            <a:ext cx="2394066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akutní lůžka C+ pacien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.3.2021 16:14</a:t>
            </a:r>
            <a:endParaRPr kumimoji="0" lang="cs-CZ" sz="20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774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/>
          </p:nvPr>
        </p:nvGraphicFramePr>
        <p:xfrm>
          <a:off x="332817" y="1022464"/>
          <a:ext cx="9093815" cy="5310628"/>
        </p:xfrm>
        <a:graphic>
          <a:graphicData uri="http://schemas.openxmlformats.org/drawingml/2006/table">
            <a:tbl>
              <a:tblPr/>
              <a:tblGrid>
                <a:gridCol w="1949410">
                  <a:extLst>
                    <a:ext uri="{9D8B030D-6E8A-4147-A177-3AD203B41FA5}">
                      <a16:colId xmlns:a16="http://schemas.microsoft.com/office/drawing/2014/main" val="1537637101"/>
                    </a:ext>
                  </a:extLst>
                </a:gridCol>
                <a:gridCol w="1237721">
                  <a:extLst>
                    <a:ext uri="{9D8B030D-6E8A-4147-A177-3AD203B41FA5}">
                      <a16:colId xmlns:a16="http://schemas.microsoft.com/office/drawing/2014/main" val="1751789799"/>
                    </a:ext>
                  </a:extLst>
                </a:gridCol>
                <a:gridCol w="1144892">
                  <a:extLst>
                    <a:ext uri="{9D8B030D-6E8A-4147-A177-3AD203B41FA5}">
                      <a16:colId xmlns:a16="http://schemas.microsoft.com/office/drawing/2014/main" val="3652843136"/>
                    </a:ext>
                  </a:extLst>
                </a:gridCol>
                <a:gridCol w="1100197">
                  <a:extLst>
                    <a:ext uri="{9D8B030D-6E8A-4147-A177-3AD203B41FA5}">
                      <a16:colId xmlns:a16="http://schemas.microsoft.com/office/drawing/2014/main" val="3357533980"/>
                    </a:ext>
                  </a:extLst>
                </a:gridCol>
                <a:gridCol w="1320237">
                  <a:extLst>
                    <a:ext uri="{9D8B030D-6E8A-4147-A177-3AD203B41FA5}">
                      <a16:colId xmlns:a16="http://schemas.microsoft.com/office/drawing/2014/main" val="4157802132"/>
                    </a:ext>
                  </a:extLst>
                </a:gridCol>
                <a:gridCol w="1320237">
                  <a:extLst>
                    <a:ext uri="{9D8B030D-6E8A-4147-A177-3AD203B41FA5}">
                      <a16:colId xmlns:a16="http://schemas.microsoft.com/office/drawing/2014/main" val="2263316157"/>
                    </a:ext>
                  </a:extLst>
                </a:gridCol>
                <a:gridCol w="1021121">
                  <a:extLst>
                    <a:ext uri="{9D8B030D-6E8A-4147-A177-3AD203B41FA5}">
                      <a16:colId xmlns:a16="http://schemas.microsoft.com/office/drawing/2014/main" val="2303555825"/>
                    </a:ext>
                  </a:extLst>
                </a:gridCol>
              </a:tblGrid>
              <a:tr h="228084">
                <a:tc gridSpan="7"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akutních lůžek (ARO + JIP) v ČR k 12.3. 2021, 5:30 h</a:t>
                      </a: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572822"/>
                  </a:ext>
                </a:extLst>
              </a:tr>
              <a:tr h="191193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5079564"/>
                  </a:ext>
                </a:extLst>
              </a:tr>
              <a:tr h="22808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utní lůžka (ARO + JIP + počet plicních ventilátorů)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9742608"/>
                  </a:ext>
                </a:extLst>
              </a:tr>
              <a:tr h="456169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 Covid+ z volných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icních ventilátorů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rofilizovaná kap. plán.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. kap. skutečná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1291706"/>
                  </a:ext>
                </a:extLst>
              </a:tr>
              <a:tr h="2036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3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4780434"/>
                  </a:ext>
                </a:extLst>
              </a:tr>
              <a:tr h="2036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0386884"/>
                  </a:ext>
                </a:extLst>
              </a:tr>
              <a:tr h="2036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5546332"/>
                  </a:ext>
                </a:extLst>
              </a:tr>
              <a:tr h="2036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1367243"/>
                  </a:ext>
                </a:extLst>
              </a:tr>
              <a:tr h="2036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3559177"/>
                  </a:ext>
                </a:extLst>
              </a:tr>
              <a:tr h="2036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7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0913745"/>
                  </a:ext>
                </a:extLst>
              </a:tr>
              <a:tr h="2036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9687068"/>
                  </a:ext>
                </a:extLst>
              </a:tr>
              <a:tr h="2036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8582221"/>
                  </a:ext>
                </a:extLst>
              </a:tr>
              <a:tr h="2036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1150200"/>
                  </a:ext>
                </a:extLst>
              </a:tr>
              <a:tr h="2036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273830"/>
                  </a:ext>
                </a:extLst>
              </a:tr>
              <a:tr h="2036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5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0644811"/>
                  </a:ext>
                </a:extLst>
              </a:tr>
              <a:tr h="2036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621286"/>
                  </a:ext>
                </a:extLst>
              </a:tr>
              <a:tr h="2036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6176068"/>
                  </a:ext>
                </a:extLst>
              </a:tr>
              <a:tr h="21179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2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6782" marR="6782" marT="67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8927810"/>
                  </a:ext>
                </a:extLst>
              </a:tr>
              <a:tr h="2362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12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9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7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0</a:t>
                      </a:r>
                    </a:p>
                  </a:txBody>
                  <a:tcPr marL="6782" marR="6782" marT="67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019421"/>
                  </a:ext>
                </a:extLst>
              </a:tr>
              <a:tr h="195501"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UZIS</a:t>
                      </a: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9607731"/>
                  </a:ext>
                </a:extLst>
              </a:tr>
              <a:tr h="191193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267032"/>
                  </a:ext>
                </a:extLst>
              </a:tr>
              <a:tr h="37424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782" marR="6782" marT="67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782" marR="6782" marT="67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782" marR="6782" marT="67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782" marR="6782" marT="67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782" marR="6782" marT="67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782" marR="6782" marT="67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volných kapacit</a:t>
                      </a:r>
                    </a:p>
                  </a:txBody>
                  <a:tcPr marL="6782" marR="6782" marT="67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1284017"/>
                  </a:ext>
                </a:extLst>
              </a:tr>
              <a:tr h="268814">
                <a:tc gridSpan="3">
                  <a:txBody>
                    <a:bodyPr/>
                    <a:lstStyle/>
                    <a:p>
                      <a:pPr algn="r" fontAlgn="b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5x</a:t>
                      </a: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82" marR="6782" marT="678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23906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0279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Map&#10;&#10;Description automatically generated">
            <a:extLst>
              <a:ext uri="{FF2B5EF4-FFF2-40B4-BE49-F238E27FC236}">
                <a16:creationId xmlns:a16="http://schemas.microsoft.com/office/drawing/2014/main" id="{5D803DA5-5D9C-447A-8357-F6117CCC9C7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8191" y="4249022"/>
            <a:ext cx="4318807" cy="2520000"/>
          </a:xfrm>
          <a:prstGeom prst="rect">
            <a:avLst/>
          </a:prstGeom>
        </p:spPr>
      </p:pic>
      <p:sp>
        <p:nvSpPr>
          <p:cNvPr id="6" name="Zaoblený obdélník 5"/>
          <p:cNvSpPr/>
          <p:nvPr/>
        </p:nvSpPr>
        <p:spPr>
          <a:xfrm>
            <a:off x="242284" y="133245"/>
            <a:ext cx="11720734" cy="476159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lné kapacity JIP lůžek v % pro virtuální RIZIKOVÝ predikční model s R = 1.20</a:t>
            </a:r>
            <a:endParaRPr kumimoji="0" lang="cs-CZ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3813B3F-3821-4DD9-8C67-E6AFF2A983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42284" y="880132"/>
            <a:ext cx="38863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lné kapacity JIP v % k 14.2.2021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re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lný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tav k danému datu)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F6F6E00-F3B7-4825-AED5-12ECBC70662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158439" y="880132"/>
            <a:ext cx="343645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lné kapacity JIP v % k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2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2.2021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re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lný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tav k danému datu)</a:t>
            </a:r>
          </a:p>
        </p:txBody>
      </p:sp>
      <p:pic>
        <p:nvPicPr>
          <p:cNvPr id="16" name="Picture 15" descr="Map&#10;&#10;Description automatically generated">
            <a:extLst>
              <a:ext uri="{FF2B5EF4-FFF2-40B4-BE49-F238E27FC236}">
                <a16:creationId xmlns:a16="http://schemas.microsoft.com/office/drawing/2014/main" id="{59A3AA55-1BCB-4C67-9FCD-3BAC4645D22C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59" r="11634"/>
          <a:stretch/>
        </p:blipFill>
        <p:spPr>
          <a:xfrm>
            <a:off x="12593" y="1474238"/>
            <a:ext cx="3533058" cy="2520000"/>
          </a:xfrm>
          <a:prstGeom prst="rect">
            <a:avLst/>
          </a:prstGeom>
        </p:spPr>
      </p:pic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D0A41E8A-BBBF-43F6-ADEB-65A751EEA8B3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59" r="10053"/>
          <a:stretch/>
        </p:blipFill>
        <p:spPr>
          <a:xfrm>
            <a:off x="3994506" y="1474238"/>
            <a:ext cx="3601385" cy="25200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78972B87-A46D-43B7-A956-9DE448F30EF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188597" y="880132"/>
            <a:ext cx="343645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lné kapacity JIP v % k 5.3.2021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re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lný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tav k danému datu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7C9E002-0D9F-4A10-9EDA-66DF616DEFA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594893" y="4044065"/>
            <a:ext cx="42854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volné kapacity JIP v % k 15.3.2021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 descr="Map&#10;&#10;Description automatically generated">
            <a:extLst>
              <a:ext uri="{FF2B5EF4-FFF2-40B4-BE49-F238E27FC236}">
                <a16:creationId xmlns:a16="http://schemas.microsoft.com/office/drawing/2014/main" id="{68F7B601-A9DD-4686-BAE0-0EF32C2C9196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00" r="10014"/>
          <a:stretch/>
        </p:blipFill>
        <p:spPr>
          <a:xfrm>
            <a:off x="7908885" y="1421587"/>
            <a:ext cx="3657417" cy="2520000"/>
          </a:xfrm>
          <a:prstGeom prst="rect">
            <a:avLst/>
          </a:prstGeom>
        </p:spPr>
      </p:pic>
      <p:sp>
        <p:nvSpPr>
          <p:cNvPr id="19" name="Rectangle 9">
            <a:extLst>
              <a:ext uri="{FF2B5EF4-FFF2-40B4-BE49-F238E27FC236}">
                <a16:creationId xmlns:a16="http://schemas.microsoft.com/office/drawing/2014/main" id="{B61D1BFC-AC4C-4020-871E-A874D23799D2}"/>
              </a:ext>
            </a:extLst>
          </p:cNvPr>
          <p:cNvSpPr/>
          <p:nvPr/>
        </p:nvSpPr>
        <p:spPr>
          <a:xfrm>
            <a:off x="999962" y="4886000"/>
            <a:ext cx="216000" cy="216000"/>
          </a:xfrm>
          <a:prstGeom prst="rect">
            <a:avLst/>
          </a:prstGeom>
          <a:solidFill>
            <a:srgbClr val="F12E1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44">
            <a:extLst>
              <a:ext uri="{FF2B5EF4-FFF2-40B4-BE49-F238E27FC236}">
                <a16:creationId xmlns:a16="http://schemas.microsoft.com/office/drawing/2014/main" id="{1121FC4E-443B-4EF1-9D06-F5B59E16132D}"/>
              </a:ext>
            </a:extLst>
          </p:cNvPr>
          <p:cNvSpPr/>
          <p:nvPr/>
        </p:nvSpPr>
        <p:spPr>
          <a:xfrm>
            <a:off x="999962" y="5199145"/>
            <a:ext cx="216000" cy="216000"/>
          </a:xfrm>
          <a:prstGeom prst="rect">
            <a:avLst/>
          </a:prstGeom>
          <a:solidFill>
            <a:srgbClr val="FF7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45">
            <a:extLst>
              <a:ext uri="{FF2B5EF4-FFF2-40B4-BE49-F238E27FC236}">
                <a16:creationId xmlns:a16="http://schemas.microsoft.com/office/drawing/2014/main" id="{B83A8BBE-CC10-4AB7-94CE-1E134F24E295}"/>
              </a:ext>
            </a:extLst>
          </p:cNvPr>
          <p:cNvSpPr/>
          <p:nvPr/>
        </p:nvSpPr>
        <p:spPr>
          <a:xfrm>
            <a:off x="999962" y="5512290"/>
            <a:ext cx="216000" cy="216000"/>
          </a:xfrm>
          <a:prstGeom prst="rect">
            <a:avLst/>
          </a:prstGeom>
          <a:solidFill>
            <a:srgbClr val="FB9A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Rectangle 46">
            <a:extLst>
              <a:ext uri="{FF2B5EF4-FFF2-40B4-BE49-F238E27FC236}">
                <a16:creationId xmlns:a16="http://schemas.microsoft.com/office/drawing/2014/main" id="{E8931E4B-1B61-4447-BE29-01234161876D}"/>
              </a:ext>
            </a:extLst>
          </p:cNvPr>
          <p:cNvSpPr/>
          <p:nvPr/>
        </p:nvSpPr>
        <p:spPr>
          <a:xfrm>
            <a:off x="999962" y="5825435"/>
            <a:ext cx="216000" cy="216000"/>
          </a:xfrm>
          <a:prstGeom prst="rect">
            <a:avLst/>
          </a:prstGeom>
          <a:solidFill>
            <a:srgbClr val="E7E7E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Box 10">
            <a:extLst>
              <a:ext uri="{FF2B5EF4-FFF2-40B4-BE49-F238E27FC236}">
                <a16:creationId xmlns:a16="http://schemas.microsoft.com/office/drawing/2014/main" id="{AE8CFCCF-2072-4F53-9779-AB66D31F9BF2}"/>
              </a:ext>
            </a:extLst>
          </p:cNvPr>
          <p:cNvSpPr txBox="1"/>
          <p:nvPr/>
        </p:nvSpPr>
        <p:spPr>
          <a:xfrm>
            <a:off x="1284048" y="4809334"/>
            <a:ext cx="6351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lt; 5%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TextBox 47">
            <a:extLst>
              <a:ext uri="{FF2B5EF4-FFF2-40B4-BE49-F238E27FC236}">
                <a16:creationId xmlns:a16="http://schemas.microsoft.com/office/drawing/2014/main" id="{B6D8743B-FCD1-4A85-822A-E0ECDDF5CC92}"/>
              </a:ext>
            </a:extLst>
          </p:cNvPr>
          <p:cNvSpPr txBox="1"/>
          <p:nvPr/>
        </p:nvSpPr>
        <p:spPr>
          <a:xfrm>
            <a:off x="1284048" y="5122479"/>
            <a:ext cx="10422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% - 10%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48">
            <a:extLst>
              <a:ext uri="{FF2B5EF4-FFF2-40B4-BE49-F238E27FC236}">
                <a16:creationId xmlns:a16="http://schemas.microsoft.com/office/drawing/2014/main" id="{F12DAE32-1EC1-4940-A668-03CCF6C3268C}"/>
              </a:ext>
            </a:extLst>
          </p:cNvPr>
          <p:cNvSpPr txBox="1"/>
          <p:nvPr/>
        </p:nvSpPr>
        <p:spPr>
          <a:xfrm>
            <a:off x="1284048" y="5432405"/>
            <a:ext cx="1159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% - 20%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Box 49">
            <a:extLst>
              <a:ext uri="{FF2B5EF4-FFF2-40B4-BE49-F238E27FC236}">
                <a16:creationId xmlns:a16="http://schemas.microsoft.com/office/drawing/2014/main" id="{635A2C42-212C-4478-AF7B-6A75B9FE8632}"/>
              </a:ext>
            </a:extLst>
          </p:cNvPr>
          <p:cNvSpPr txBox="1"/>
          <p:nvPr/>
        </p:nvSpPr>
        <p:spPr>
          <a:xfrm>
            <a:off x="1284048" y="5750989"/>
            <a:ext cx="7521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gt; 20%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/>
          <p:cNvSpPr txBox="1"/>
          <p:nvPr/>
        </p:nvSpPr>
        <p:spPr>
          <a:xfrm>
            <a:off x="2731245" y="4614599"/>
            <a:ext cx="450327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lné kapacity intenzivní nemocniční péče i přes robustnost vybavení českých nemocnic postupně klesají. Pokud by došlo k významné eskalaci šíření nákazy, dostala by se většina území ČR do situace kritického nedostatku volných kapacit intenzivní péče. </a:t>
            </a:r>
          </a:p>
        </p:txBody>
      </p:sp>
      <p:sp>
        <p:nvSpPr>
          <p:cNvPr id="30" name="Šipka doprava 29"/>
          <p:cNvSpPr/>
          <p:nvPr/>
        </p:nvSpPr>
        <p:spPr>
          <a:xfrm>
            <a:off x="7234523" y="4996220"/>
            <a:ext cx="405492" cy="939435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43823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Zaoblený obdélník 15"/>
          <p:cNvSpPr/>
          <p:nvPr/>
        </p:nvSpPr>
        <p:spPr>
          <a:xfrm>
            <a:off x="556550" y="144314"/>
            <a:ext cx="11354939" cy="69513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tuace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celé populaci ČR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AAE0361F-E506-4977-82C5-F24A5FA62772}"/>
              </a:ext>
            </a:extLst>
          </p:cNvPr>
          <p:cNvSpPr txBox="1"/>
          <p:nvPr/>
        </p:nvSpPr>
        <p:spPr>
          <a:xfrm rot="16200000">
            <a:off x="-577054" y="4305215"/>
            <a:ext cx="19444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sob s COVID-19</a:t>
            </a:r>
          </a:p>
        </p:txBody>
      </p:sp>
      <p:sp>
        <p:nvSpPr>
          <p:cNvPr id="27" name="TextBox 6">
            <a:extLst>
              <a:ext uri="{FF2B5EF4-FFF2-40B4-BE49-F238E27FC236}">
                <a16:creationId xmlns:a16="http://schemas.microsoft.com/office/drawing/2014/main" id="{9973232A-9684-4FC9-AE77-1386A1121E76}"/>
              </a:ext>
            </a:extLst>
          </p:cNvPr>
          <p:cNvSpPr txBox="1"/>
          <p:nvPr/>
        </p:nvSpPr>
        <p:spPr>
          <a:xfrm>
            <a:off x="1189723" y="2910561"/>
            <a:ext cx="6493122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6B627DB5-E7BE-4826-83AC-838BCA5E7E3C}"/>
              </a:ext>
            </a:extLst>
          </p:cNvPr>
          <p:cNvSpPr txBox="1"/>
          <p:nvPr/>
        </p:nvSpPr>
        <p:spPr>
          <a:xfrm>
            <a:off x="154624" y="6405326"/>
            <a:ext cx="982352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Výpočet funkc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imate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 v software R (balíček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Esti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, 7denní časové okno, předpoklad rozdělení sériového intervalu: průměr 4.8, SD 2.3 (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shiura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t al., 2020), odhad uveden jako medián a 2,5%–97,5% kvantily.</a:t>
            </a:r>
          </a:p>
        </p:txBody>
      </p:sp>
      <p:grpSp>
        <p:nvGrpSpPr>
          <p:cNvPr id="28" name="Skupina 27"/>
          <p:cNvGrpSpPr/>
          <p:nvPr/>
        </p:nvGrpSpPr>
        <p:grpSpPr>
          <a:xfrm>
            <a:off x="2060846" y="3317541"/>
            <a:ext cx="1591404" cy="307777"/>
            <a:chOff x="9718781" y="1744597"/>
            <a:chExt cx="1591404" cy="307779"/>
          </a:xfrm>
        </p:grpSpPr>
        <p:sp>
          <p:nvSpPr>
            <p:cNvPr id="29" name="TextovéPole 28"/>
            <p:cNvSpPr txBox="1"/>
            <p:nvPr/>
          </p:nvSpPr>
          <p:spPr>
            <a:xfrm>
              <a:off x="9718781" y="1837224"/>
              <a:ext cx="108000" cy="108001"/>
            </a:xfrm>
            <a:prstGeom prst="rect">
              <a:avLst/>
            </a:prstGeom>
            <a:solidFill>
              <a:srgbClr val="C00000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TextovéPole 29"/>
            <p:cNvSpPr txBox="1"/>
            <p:nvPr/>
          </p:nvSpPr>
          <p:spPr>
            <a:xfrm>
              <a:off x="9820823" y="1744597"/>
              <a:ext cx="1489362" cy="3077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cidence</a:t>
              </a:r>
            </a:p>
          </p:txBody>
        </p:sp>
      </p:grp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50799D38-217C-4919-BC0B-8935B9826571}"/>
              </a:ext>
            </a:extLst>
          </p:cNvPr>
          <p:cNvCxnSpPr>
            <a:cxnSpLocks/>
          </p:cNvCxnSpPr>
          <p:nvPr/>
        </p:nvCxnSpPr>
        <p:spPr>
          <a:xfrm flipH="1">
            <a:off x="1442911" y="1778193"/>
            <a:ext cx="2100389" cy="118929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30">
            <a:extLst>
              <a:ext uri="{FF2B5EF4-FFF2-40B4-BE49-F238E27FC236}">
                <a16:creationId xmlns:a16="http://schemas.microsoft.com/office/drawing/2014/main" id="{8F229281-C9AA-48B9-A3C0-B2FD523C78CB}"/>
              </a:ext>
            </a:extLst>
          </p:cNvPr>
          <p:cNvCxnSpPr>
            <a:cxnSpLocks/>
          </p:cNvCxnSpPr>
          <p:nvPr/>
        </p:nvCxnSpPr>
        <p:spPr>
          <a:xfrm>
            <a:off x="8750340" y="1720861"/>
            <a:ext cx="2317351" cy="12466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bdélník 12">
            <a:extLst>
              <a:ext uri="{FF2B5EF4-FFF2-40B4-BE49-F238E27FC236}">
                <a16:creationId xmlns:a16="http://schemas.microsoft.com/office/drawing/2014/main" id="{00A3F12B-FECE-4814-AB92-A8A1333F907B}"/>
              </a:ext>
            </a:extLst>
          </p:cNvPr>
          <p:cNvSpPr/>
          <p:nvPr/>
        </p:nvSpPr>
        <p:spPr>
          <a:xfrm>
            <a:off x="2060846" y="1101950"/>
            <a:ext cx="8346345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 odhad R pro Č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,91 *</a:t>
            </a:r>
            <a:endParaRPr kumimoji="0" lang="cs-CZ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7" name="Chart 4">
            <a:extLst>
              <a:ext uri="{FF2B5EF4-FFF2-40B4-BE49-F238E27FC236}">
                <a16:creationId xmlns:a16="http://schemas.microsoft.com/office/drawing/2014/main" id="{5669529C-2BEF-4D3F-B465-B1D1833F5E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61488803"/>
              </p:ext>
            </p:extLst>
          </p:nvPr>
        </p:nvGraphicFramePr>
        <p:xfrm>
          <a:off x="418529" y="2591454"/>
          <a:ext cx="11354940" cy="3796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158849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13D0CC33-BD64-4985-9EE0-07593F39629B}"/>
              </a:ext>
            </a:extLst>
          </p:cNvPr>
          <p:cNvGraphicFramePr/>
          <p:nvPr>
            <p:extLst/>
          </p:nvPr>
        </p:nvGraphicFramePr>
        <p:xfrm>
          <a:off x="5155863" y="1919763"/>
          <a:ext cx="3115809" cy="4281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4" name="Přímá spojnice 3">
            <a:extLst>
              <a:ext uri="{FF2B5EF4-FFF2-40B4-BE49-F238E27FC236}">
                <a16:creationId xmlns:a16="http://schemas.microsoft.com/office/drawing/2014/main" id="{8B896B25-8706-47A6-8E65-88AF593ED3D9}"/>
              </a:ext>
            </a:extLst>
          </p:cNvPr>
          <p:cNvCxnSpPr/>
          <p:nvPr/>
        </p:nvCxnSpPr>
        <p:spPr>
          <a:xfrm>
            <a:off x="6723453" y="2224001"/>
            <a:ext cx="0" cy="3888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ovéPole 5">
            <a:extLst>
              <a:ext uri="{FF2B5EF4-FFF2-40B4-BE49-F238E27FC236}">
                <a16:creationId xmlns:a16="http://schemas.microsoft.com/office/drawing/2014/main" id="{608BDF21-CE7C-45CF-8A6D-13F3C0394004}"/>
              </a:ext>
            </a:extLst>
          </p:cNvPr>
          <p:cNvSpPr txBox="1"/>
          <p:nvPr/>
        </p:nvSpPr>
        <p:spPr>
          <a:xfrm>
            <a:off x="4563619" y="1550430"/>
            <a:ext cx="35573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ference za posledních 14 dní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990E0159-6700-4C79-9E79-4238DAF7F348}"/>
              </a:ext>
            </a:extLst>
          </p:cNvPr>
          <p:cNvSpPr txBox="1"/>
          <p:nvPr/>
        </p:nvSpPr>
        <p:spPr>
          <a:xfrm>
            <a:off x="8713005" y="1550430"/>
            <a:ext cx="34291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ference za posledních 7 dní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59C1A6CA-1D15-4225-8203-51BFA04C92D3}"/>
              </a:ext>
            </a:extLst>
          </p:cNvPr>
          <p:cNvSpPr txBox="1"/>
          <p:nvPr/>
        </p:nvSpPr>
        <p:spPr>
          <a:xfrm>
            <a:off x="345066" y="967666"/>
            <a:ext cx="503695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jednodušené reprodukční číslo*</a:t>
            </a: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5FF90280-79C9-470F-BF72-3282C9773011}"/>
              </a:ext>
            </a:extLst>
          </p:cNvPr>
          <p:cNvSpPr/>
          <p:nvPr/>
        </p:nvSpPr>
        <p:spPr>
          <a:xfrm>
            <a:off x="-39402" y="6255603"/>
            <a:ext cx="1224063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dstavuje podíl sedmidenních časových oken, vzájemně posunutých o užívanou průměrnou délku sériového intervalu (5 dní). </a:t>
            </a: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N DER HEIDEN, Matthias; HAMOUDA, </a:t>
            </a:r>
            <a:r>
              <a:rPr kumimoji="0" lang="de-DE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samah</a:t>
            </a: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Schätzung der aktuellen Entwicklung der SARS-CoV-2-Epidemie in Deutschland–</a:t>
            </a:r>
            <a:r>
              <a:rPr kumimoji="0" lang="de-DE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wcasting</a:t>
            </a: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</a:t>
            </a:r>
            <a:r>
              <a:rPr kumimoji="0" lang="de-DE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pid</a:t>
            </a: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Bull, 2020, 17: 10-15. 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13" name="Graf 12">
            <a:extLst>
              <a:ext uri="{FF2B5EF4-FFF2-40B4-BE49-F238E27FC236}">
                <a16:creationId xmlns:a16="http://schemas.microsoft.com/office/drawing/2014/main" id="{D7A3B84F-6639-4915-AC44-63B8C670155A}"/>
              </a:ext>
            </a:extLst>
          </p:cNvPr>
          <p:cNvGraphicFramePr/>
          <p:nvPr>
            <p:extLst/>
          </p:nvPr>
        </p:nvGraphicFramePr>
        <p:xfrm>
          <a:off x="8837393" y="1919763"/>
          <a:ext cx="3115809" cy="4281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Tabulka 11">
            <a:extLst>
              <a:ext uri="{FF2B5EF4-FFF2-40B4-BE49-F238E27FC236}">
                <a16:creationId xmlns:a16="http://schemas.microsoft.com/office/drawing/2014/main" id="{95FAB388-2E77-463A-A884-393092466C6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132891" y="2224001"/>
          <a:ext cx="1337301" cy="38326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7301">
                  <a:extLst>
                    <a:ext uri="{9D8B030D-6E8A-4147-A177-3AD203B41FA5}">
                      <a16:colId xmlns:a16="http://schemas.microsoft.com/office/drawing/2014/main" val="3064028884"/>
                    </a:ext>
                  </a:extLst>
                </a:gridCol>
              </a:tblGrid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1963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29680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75718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472187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33475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50907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64554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6298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3809498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12229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667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77912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3088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85119"/>
                  </a:ext>
                </a:extLst>
              </a:tr>
            </a:tbl>
          </a:graphicData>
        </a:graphic>
      </p:graphicFrame>
      <p:sp>
        <p:nvSpPr>
          <p:cNvPr id="17" name="TextovéPole 16">
            <a:extLst>
              <a:ext uri="{FF2B5EF4-FFF2-40B4-BE49-F238E27FC236}">
                <a16:creationId xmlns:a16="http://schemas.microsoft.com/office/drawing/2014/main" id="{2FFFCA2B-FFDE-427C-8A58-BA118823CA59}"/>
              </a:ext>
            </a:extLst>
          </p:cNvPr>
          <p:cNvSpPr txBox="1"/>
          <p:nvPr/>
        </p:nvSpPr>
        <p:spPr>
          <a:xfrm>
            <a:off x="1302690" y="1550430"/>
            <a:ext cx="2069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ktuální hodnoty</a:t>
            </a:r>
          </a:p>
        </p:txBody>
      </p:sp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97DF336-95B2-40A5-B608-A8444018AD16}"/>
              </a:ext>
            </a:extLst>
          </p:cNvPr>
          <p:cNvGraphicFramePr/>
          <p:nvPr>
            <p:extLst/>
          </p:nvPr>
        </p:nvGraphicFramePr>
        <p:xfrm>
          <a:off x="1222556" y="1919763"/>
          <a:ext cx="3115809" cy="4281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9" name="Tabulka 11">
            <a:extLst>
              <a:ext uri="{FF2B5EF4-FFF2-40B4-BE49-F238E27FC236}">
                <a16:creationId xmlns:a16="http://schemas.microsoft.com/office/drawing/2014/main" id="{AEC007C7-4304-4C55-AE44-15AD7BCBC3D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5156" y="2226713"/>
          <a:ext cx="1337301" cy="38326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7301">
                  <a:extLst>
                    <a:ext uri="{9D8B030D-6E8A-4147-A177-3AD203B41FA5}">
                      <a16:colId xmlns:a16="http://schemas.microsoft.com/office/drawing/2014/main" val="3064028884"/>
                    </a:ext>
                  </a:extLst>
                </a:gridCol>
              </a:tblGrid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1963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29680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75718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472187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33475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50907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645540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629804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3809498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122295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667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779126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30883"/>
                  </a:ext>
                </a:extLst>
              </a:tr>
              <a:tr h="2737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85119"/>
                  </a:ext>
                </a:extLst>
              </a:tr>
            </a:tbl>
          </a:graphicData>
        </a:graphic>
      </p:graphicFrame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7F82D44D-4D15-4A3E-9F30-7DCB869E7E22}"/>
              </a:ext>
            </a:extLst>
          </p:cNvPr>
          <p:cNvCxnSpPr/>
          <p:nvPr/>
        </p:nvCxnSpPr>
        <p:spPr>
          <a:xfrm>
            <a:off x="10396893" y="2168669"/>
            <a:ext cx="0" cy="3888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Nadpis 5">
            <a:extLst>
              <a:ext uri="{FF2B5EF4-FFF2-40B4-BE49-F238E27FC236}">
                <a16:creationId xmlns:a16="http://schemas.microsoft.com/office/drawing/2014/main" id="{E3A3482D-5B99-4825-A6F5-9A21537018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</p:spPr>
        <p:txBody>
          <a:bodyPr>
            <a:noAutofit/>
          </a:bodyPr>
          <a:lstStyle/>
          <a:p>
            <a:r>
              <a:rPr lang="cs-CZ" sz="2000" dirty="0">
                <a:latin typeface="+mn-lt"/>
              </a:rPr>
              <a:t>Vývoj reprodukčního čísla</a:t>
            </a:r>
            <a:r>
              <a:rPr lang="cs-CZ" sz="2000" baseline="30000" dirty="0">
                <a:latin typeface="+mn-lt"/>
              </a:rPr>
              <a:t>* </a:t>
            </a:r>
            <a:r>
              <a:rPr lang="cs-CZ" sz="2000" dirty="0">
                <a:latin typeface="+mn-lt"/>
              </a:rPr>
              <a:t>– srovnání krajů</a:t>
            </a:r>
            <a:r>
              <a:rPr lang="en-US" sz="2000" dirty="0">
                <a:latin typeface="+mn-lt"/>
              </a:rPr>
              <a:t> </a:t>
            </a:r>
            <a:r>
              <a:rPr lang="cs-CZ" sz="2000" dirty="0">
                <a:latin typeface="+mn-lt"/>
              </a:rPr>
              <a:t> </a:t>
            </a:r>
          </a:p>
        </p:txBody>
      </p:sp>
      <p:graphicFrame>
        <p:nvGraphicFramePr>
          <p:cNvPr id="11" name="Tabulka 11">
            <a:extLst>
              <a:ext uri="{FF2B5EF4-FFF2-40B4-BE49-F238E27FC236}">
                <a16:creationId xmlns:a16="http://schemas.microsoft.com/office/drawing/2014/main" id="{5EE7D93E-DD4F-499C-906A-17626AAA340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091963" y="2231923"/>
          <a:ext cx="1464637" cy="38247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4637">
                  <a:extLst>
                    <a:ext uri="{9D8B030D-6E8A-4147-A177-3AD203B41FA5}">
                      <a16:colId xmlns:a16="http://schemas.microsoft.com/office/drawing/2014/main" val="3064028884"/>
                    </a:ext>
                  </a:extLst>
                </a:gridCol>
              </a:tblGrid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196304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296800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757184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472187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334753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509075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645540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629804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3809498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122295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6676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779126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730883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851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88989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/>
        </p:nvSpPr>
        <p:spPr>
          <a:xfrm>
            <a:off x="152440" y="184231"/>
            <a:ext cx="1180093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rizika současného</a:t>
            </a:r>
            <a:r>
              <a:rPr kumimoji="0" lang="cs-CZ" sz="4400" b="1" i="0" u="sng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4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u trvají</a:t>
            </a:r>
            <a:endParaRPr kumimoji="0" lang="cs-CZ" sz="44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Šipka dolů 1"/>
          <p:cNvSpPr/>
          <p:nvPr/>
        </p:nvSpPr>
        <p:spPr>
          <a:xfrm rot="2872147">
            <a:off x="3496849" y="996590"/>
            <a:ext cx="432357" cy="83516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 rot="19062922">
            <a:off x="7978927" y="1008535"/>
            <a:ext cx="432357" cy="83516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334180" y="1979540"/>
            <a:ext cx="4120125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Stále </a:t>
            </a: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silné komunitní</a:t>
            </a:r>
            <a:r>
              <a:rPr kumimoji="0" lang="cs-CZ" sz="2600" b="1" i="0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 šíření </a:t>
            </a:r>
            <a:r>
              <a:rPr kumimoji="0" lang="cs-CZ" sz="2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nákazy, postupující šíření </a:t>
            </a:r>
            <a:r>
              <a:rPr kumimoji="0" lang="cs-CZ" sz="2600" b="1" i="0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britské mutace viru </a:t>
            </a:r>
            <a:endParaRPr kumimoji="0" lang="cs-CZ" sz="2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7083910" y="1938291"/>
            <a:ext cx="4869465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Vysoká obsazenost nemocnic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</a:rPr>
              <a:t>–</a:t>
            </a:r>
            <a:r>
              <a:rPr kumimoji="0" lang="cs-CZ" sz="26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</a:rPr>
              <a:t> v některých regionech vysoce rizikový stav</a:t>
            </a:r>
            <a:endParaRPr kumimoji="0" lang="cs-CZ" sz="2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459168" y="1812527"/>
            <a:ext cx="768229" cy="2043586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ovéPole 10"/>
          <p:cNvSpPr txBox="1"/>
          <p:nvPr/>
        </p:nvSpPr>
        <p:spPr>
          <a:xfrm>
            <a:off x="1133220" y="3991823"/>
            <a:ext cx="950917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a velkého množství zranitelných pacientů (v pracovních dnech průměrně &gt; </a:t>
            </a:r>
            <a:r>
              <a:rPr kumimoji="0" lang="cs-CZ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</a:t>
            </a:r>
            <a:r>
              <a:rPr lang="cs-CZ" sz="3600" b="1" dirty="0">
                <a:solidFill>
                  <a:srgbClr val="C00000"/>
                </a:solidFill>
                <a:latin typeface="Calibri" panose="020F0502020204030204"/>
              </a:rPr>
              <a:t>7</a:t>
            </a:r>
            <a:r>
              <a:rPr kumimoji="0" lang="cs-CZ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0</a:t>
            </a: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522547" y="5244323"/>
            <a:ext cx="768229" cy="514540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2"/>
          <p:cNvSpPr txBox="1"/>
          <p:nvPr/>
        </p:nvSpPr>
        <p:spPr>
          <a:xfrm>
            <a:off x="372972" y="5913673"/>
            <a:ext cx="110673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 vyčerpání všech volných </a:t>
            </a:r>
            <a:r>
              <a:rPr lang="cs-CZ" sz="3600" b="1" dirty="0">
                <a:solidFill>
                  <a:srgbClr val="C00000"/>
                </a:solidFill>
                <a:latin typeface="Calibri" panose="020F0502020204030204"/>
              </a:rPr>
              <a:t>kapacit </a:t>
            </a:r>
            <a:r>
              <a:rPr lang="cs-CZ" sz="3600" b="1" dirty="0">
                <a:solidFill>
                  <a:srgbClr val="C00000"/>
                </a:solidFill>
              </a:rPr>
              <a:t>nemocniční péče </a:t>
            </a: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cs typeface="Arial" panose="020B0604020202020204" pitchFamily="34" charset="0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372972" y="4176489"/>
            <a:ext cx="76024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6000" dirty="0">
                <a:solidFill>
                  <a:srgbClr val="C00000"/>
                </a:solidFill>
                <a:latin typeface="Arial Black" panose="020B0A04020102020204" pitchFamily="34" charset="0"/>
              </a:rPr>
              <a:t>!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10642393" y="4155476"/>
            <a:ext cx="76024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6000" dirty="0">
                <a:solidFill>
                  <a:srgbClr val="C00000"/>
                </a:solidFill>
                <a:latin typeface="Arial Black" panose="020B0A04020102020204" pitchFamily="34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8240493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diagnostické indikace 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/>
        </p:nvSpPr>
        <p:spPr>
          <a:xfrm rot="16200000">
            <a:off x="-1026795" y="3466475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extLst/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89035A64-0D86-4F2C-896C-E1196488E6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5573938"/>
              </p:ext>
            </p:extLst>
          </p:nvPr>
        </p:nvGraphicFramePr>
        <p:xfrm>
          <a:off x="1487027" y="565666"/>
          <a:ext cx="3153360" cy="2126821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 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3.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3.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3.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3.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3.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 posledních 7 d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15" name="TextovéPole 14"/>
          <p:cNvSpPr txBox="1"/>
          <p:nvPr/>
        </p:nvSpPr>
        <p:spPr>
          <a:xfrm>
            <a:off x="6081829" y="936131"/>
            <a:ext cx="550848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>
                <a:solidFill>
                  <a:prstClr val="black"/>
                </a:solidFill>
                <a:latin typeface="Calibri" panose="020F0502020204030204"/>
              </a:rPr>
              <a:t>Relativní pozitivita těchto testů nyní v mírně rostoucím trendu osciluje kolem hodnoty 40%. Nicméně neeskaluje k stále vyšším hodnotám. Nastupující stagnace vývoje patrná v posledních dnech je prvním signálem zpomalení rychlosti šíření nákazy v populaci. </a:t>
            </a:r>
          </a:p>
        </p:txBody>
      </p:sp>
      <p:sp>
        <p:nvSpPr>
          <p:cNvPr id="16" name="Šipka doprava 15"/>
          <p:cNvSpPr/>
          <p:nvPr/>
        </p:nvSpPr>
        <p:spPr>
          <a:xfrm rot="10800000">
            <a:off x="5318960" y="1282453"/>
            <a:ext cx="597633" cy="784683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Šipka doprava 16"/>
          <p:cNvSpPr/>
          <p:nvPr/>
        </p:nvSpPr>
        <p:spPr>
          <a:xfrm rot="5400000">
            <a:off x="10822484" y="2224951"/>
            <a:ext cx="597633" cy="784683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97850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F111E8D-1AA1-499E-9A1D-8C3F4659BEF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19486" y="1581994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1 083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9 643 (87,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symptomatičtí N = 6 007 (54,2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636 (32,8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440 (13,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 = 617 (5,6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823 (7,4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6964" y="10289"/>
            <a:ext cx="7020249" cy="576000"/>
          </a:xfrm>
        </p:spPr>
        <p:txBody>
          <a:bodyPr/>
          <a:lstStyle/>
          <a:p>
            <a:r>
              <a:rPr lang="cs-CZ" dirty="0"/>
              <a:t>Typologie pozitivních </a:t>
            </a:r>
            <a:r>
              <a:rPr lang="cs-CZ" dirty="0" smtClean="0"/>
              <a:t>případů dle diagnostického testu</a:t>
            </a:r>
            <a:endParaRPr lang="cs-CZ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F65D85B-1235-470B-97CB-79FE65D6B769}"/>
              </a:ext>
            </a:extLst>
          </p:cNvPr>
          <p:cNvCxnSpPr/>
          <p:nvPr/>
        </p:nvCxnSpPr>
        <p:spPr>
          <a:xfrm>
            <a:off x="6053207" y="809564"/>
            <a:ext cx="11502" cy="47088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F87802C8-B4F5-40B3-877D-F3173E5C55DF}"/>
              </a:ext>
            </a:extLst>
          </p:cNvPr>
          <p:cNvSpPr txBox="1"/>
          <p:nvPr/>
        </p:nvSpPr>
        <p:spPr>
          <a:xfrm>
            <a:off x="98154" y="822193"/>
            <a:ext cx="145129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dob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. 3. 2021</a:t>
            </a:r>
          </a:p>
        </p:txBody>
      </p: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E15461F0-DBCA-44B3-AFC4-5694F927470E}"/>
              </a:ext>
            </a:extLst>
          </p:cNvPr>
          <p:cNvCxnSpPr>
            <a:cxnSpLocks/>
            <a:stCxn id="8" idx="2"/>
            <a:endCxn id="52" idx="2"/>
          </p:cNvCxnSpPr>
          <p:nvPr/>
        </p:nvCxnSpPr>
        <p:spPr>
          <a:xfrm rot="10800000" flipH="1" flipV="1">
            <a:off x="554989" y="1883129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9271E85C-78F8-4C16-95BE-7AA494C7B8F4}"/>
              </a:ext>
            </a:extLst>
          </p:cNvPr>
          <p:cNvCxnSpPr>
            <a:cxnSpLocks/>
            <a:stCxn id="55" idx="2"/>
            <a:endCxn id="37" idx="2"/>
          </p:cNvCxnSpPr>
          <p:nvPr/>
        </p:nvCxnSpPr>
        <p:spPr>
          <a:xfrm rot="10800000" flipH="1" flipV="1">
            <a:off x="887065" y="2395523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474FEBAB-195E-4F06-9191-A0CC61BE84DF}"/>
              </a:ext>
            </a:extLst>
          </p:cNvPr>
          <p:cNvCxnSpPr>
            <a:cxnSpLocks/>
            <a:stCxn id="55" idx="2"/>
            <a:endCxn id="38" idx="2"/>
          </p:cNvCxnSpPr>
          <p:nvPr/>
        </p:nvCxnSpPr>
        <p:spPr>
          <a:xfrm rot="10800000" flipH="1" flipV="1">
            <a:off x="887065" y="2395523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7BADC4EC-AE28-436C-8F06-086171D52513}"/>
              </a:ext>
            </a:extLst>
          </p:cNvPr>
          <p:cNvCxnSpPr>
            <a:cxnSpLocks/>
            <a:stCxn id="52" idx="2"/>
            <a:endCxn id="53" idx="2"/>
          </p:cNvCxnSpPr>
          <p:nvPr/>
        </p:nvCxnSpPr>
        <p:spPr>
          <a:xfrm rot="10800000" flipH="1" flipV="1">
            <a:off x="887065" y="4037188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57BD6D97-4B7C-4511-B572-1A288E246C80}"/>
              </a:ext>
            </a:extLst>
          </p:cNvPr>
          <p:cNvCxnSpPr>
            <a:cxnSpLocks/>
            <a:stCxn id="52" idx="2"/>
            <a:endCxn id="54" idx="2"/>
          </p:cNvCxnSpPr>
          <p:nvPr/>
        </p:nvCxnSpPr>
        <p:spPr>
          <a:xfrm rot="10800000" flipH="1" flipV="1">
            <a:off x="887065" y="4037189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FAE8D145-8FEC-4B22-9DDC-0C5CCB6DFBE0}"/>
              </a:ext>
            </a:extLst>
          </p:cNvPr>
          <p:cNvSpPr/>
          <p:nvPr/>
        </p:nvSpPr>
        <p:spPr>
          <a:xfrm>
            <a:off x="554989" y="18291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E3F6BD1E-922A-4BC0-B4A6-4ACA15309ABA}"/>
              </a:ext>
            </a:extLst>
          </p:cNvPr>
          <p:cNvSpPr/>
          <p:nvPr/>
        </p:nvSpPr>
        <p:spPr>
          <a:xfrm>
            <a:off x="1367967" y="289552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6E8A58F7-A37E-4A46-B91F-E1531FA7DBCF}"/>
              </a:ext>
            </a:extLst>
          </p:cNvPr>
          <p:cNvSpPr/>
          <p:nvPr/>
        </p:nvSpPr>
        <p:spPr>
          <a:xfrm>
            <a:off x="1367967" y="3438637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E122BBD1-B781-45E1-93C9-27579E97D080}"/>
              </a:ext>
            </a:extLst>
          </p:cNvPr>
          <p:cNvSpPr/>
          <p:nvPr/>
        </p:nvSpPr>
        <p:spPr>
          <a:xfrm>
            <a:off x="887065" y="3983189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E467B314-222D-4391-9E19-F81044FDCE57}"/>
              </a:ext>
            </a:extLst>
          </p:cNvPr>
          <p:cNvSpPr/>
          <p:nvPr/>
        </p:nvSpPr>
        <p:spPr>
          <a:xfrm>
            <a:off x="1367967" y="454234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FAD26FE-83EB-4869-AEC9-A07D1787F937}"/>
              </a:ext>
            </a:extLst>
          </p:cNvPr>
          <p:cNvSpPr/>
          <p:nvPr/>
        </p:nvSpPr>
        <p:spPr>
          <a:xfrm>
            <a:off x="1367967" y="5072495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16884E67-B8DF-4A7E-9B5A-352970057F35}"/>
              </a:ext>
            </a:extLst>
          </p:cNvPr>
          <p:cNvSpPr/>
          <p:nvPr/>
        </p:nvSpPr>
        <p:spPr>
          <a:xfrm>
            <a:off x="887065" y="234152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6" name="Connector: Elbow 55">
            <a:extLst>
              <a:ext uri="{FF2B5EF4-FFF2-40B4-BE49-F238E27FC236}">
                <a16:creationId xmlns:a16="http://schemas.microsoft.com/office/drawing/2014/main" id="{78F98DE0-687E-41A7-A543-4683BA96AB1A}"/>
              </a:ext>
            </a:extLst>
          </p:cNvPr>
          <p:cNvCxnSpPr>
            <a:cxnSpLocks/>
            <a:stCxn id="8" idx="2"/>
            <a:endCxn id="55" idx="2"/>
          </p:cNvCxnSpPr>
          <p:nvPr/>
        </p:nvCxnSpPr>
        <p:spPr>
          <a:xfrm rot="10800000" flipH="1" flipV="1">
            <a:off x="554989" y="1883129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9" name="Table 58">
            <a:extLst>
              <a:ext uri="{FF2B5EF4-FFF2-40B4-BE49-F238E27FC236}">
                <a16:creationId xmlns:a16="http://schemas.microsoft.com/office/drawing/2014/main" id="{80995D50-4776-4506-93F8-6BD71CF7EDD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753508" y="1581994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85 233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68 832 (80,8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7641322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symptomatičtí N = 41 705 (48,9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6734207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27 127 (31,8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57267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6 401 (19,2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637028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 = 10 647 (12,5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161272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881476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5 754 (6,8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9248792"/>
                  </a:ext>
                </a:extLst>
              </a:tr>
            </a:tbl>
          </a:graphicData>
        </a:graphic>
      </p:graphicFrame>
      <p:sp>
        <p:nvSpPr>
          <p:cNvPr id="60" name="TextBox 59">
            <a:extLst>
              <a:ext uri="{FF2B5EF4-FFF2-40B4-BE49-F238E27FC236}">
                <a16:creationId xmlns:a16="http://schemas.microsoft.com/office/drawing/2014/main" id="{9602BDD7-27C5-406C-B27E-8A4113784C2E}"/>
              </a:ext>
            </a:extLst>
          </p:cNvPr>
          <p:cNvSpPr txBox="1"/>
          <p:nvPr/>
        </p:nvSpPr>
        <p:spPr>
          <a:xfrm>
            <a:off x="6132176" y="822193"/>
            <a:ext cx="26035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dob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3. 2021–7. 3. 2021</a:t>
            </a:r>
          </a:p>
        </p:txBody>
      </p: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1273C70C-BF3A-479C-B97D-041BD72A5FE6}"/>
              </a:ext>
            </a:extLst>
          </p:cNvPr>
          <p:cNvCxnSpPr>
            <a:cxnSpLocks/>
            <a:stCxn id="66" idx="2"/>
            <a:endCxn id="69" idx="2"/>
          </p:cNvCxnSpPr>
          <p:nvPr/>
        </p:nvCxnSpPr>
        <p:spPr>
          <a:xfrm rot="10800000" flipH="1" flipV="1">
            <a:off x="6589011" y="1883129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4619065E-C70A-4F46-9B4D-FF45C6BF4C7C}"/>
              </a:ext>
            </a:extLst>
          </p:cNvPr>
          <p:cNvCxnSpPr>
            <a:cxnSpLocks/>
            <a:stCxn id="72" idx="2"/>
            <a:endCxn id="67" idx="2"/>
          </p:cNvCxnSpPr>
          <p:nvPr/>
        </p:nvCxnSpPr>
        <p:spPr>
          <a:xfrm rot="10800000" flipH="1" flipV="1">
            <a:off x="6921087" y="2395523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FC802AFD-2BC8-4452-896A-26E5308DB656}"/>
              </a:ext>
            </a:extLst>
          </p:cNvPr>
          <p:cNvCxnSpPr>
            <a:cxnSpLocks/>
            <a:stCxn id="72" idx="2"/>
            <a:endCxn id="68" idx="2"/>
          </p:cNvCxnSpPr>
          <p:nvPr/>
        </p:nvCxnSpPr>
        <p:spPr>
          <a:xfrm rot="10800000" flipH="1" flipV="1">
            <a:off x="6921087" y="2395523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9AC63DBA-271D-4D3D-A682-96B3613D4C60}"/>
              </a:ext>
            </a:extLst>
          </p:cNvPr>
          <p:cNvCxnSpPr>
            <a:cxnSpLocks/>
            <a:stCxn id="69" idx="2"/>
            <a:endCxn id="70" idx="2"/>
          </p:cNvCxnSpPr>
          <p:nvPr/>
        </p:nvCxnSpPr>
        <p:spPr>
          <a:xfrm rot="10800000" flipH="1" flipV="1">
            <a:off x="6921087" y="4037188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41A4609A-2730-4987-B1C5-A649D3E346BF}"/>
              </a:ext>
            </a:extLst>
          </p:cNvPr>
          <p:cNvCxnSpPr>
            <a:cxnSpLocks/>
            <a:stCxn id="69" idx="2"/>
            <a:endCxn id="71" idx="2"/>
          </p:cNvCxnSpPr>
          <p:nvPr/>
        </p:nvCxnSpPr>
        <p:spPr>
          <a:xfrm rot="10800000" flipH="1" flipV="1">
            <a:off x="6921087" y="4037189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Oval 65">
            <a:extLst>
              <a:ext uri="{FF2B5EF4-FFF2-40B4-BE49-F238E27FC236}">
                <a16:creationId xmlns:a16="http://schemas.microsoft.com/office/drawing/2014/main" id="{67AAD94C-4532-4F9B-A342-53990B7830C9}"/>
              </a:ext>
            </a:extLst>
          </p:cNvPr>
          <p:cNvSpPr/>
          <p:nvPr/>
        </p:nvSpPr>
        <p:spPr>
          <a:xfrm>
            <a:off x="6589011" y="18291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C5B25FD8-2C0B-4F9A-AA9B-E58400588461}"/>
              </a:ext>
            </a:extLst>
          </p:cNvPr>
          <p:cNvSpPr/>
          <p:nvPr/>
        </p:nvSpPr>
        <p:spPr>
          <a:xfrm>
            <a:off x="7401989" y="289552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70163B7B-CA20-43C9-BDB5-5CDF0F87660A}"/>
              </a:ext>
            </a:extLst>
          </p:cNvPr>
          <p:cNvSpPr/>
          <p:nvPr/>
        </p:nvSpPr>
        <p:spPr>
          <a:xfrm>
            <a:off x="7401989" y="3438637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9A694CB3-CDE4-4FC6-A949-BEEC193745E8}"/>
              </a:ext>
            </a:extLst>
          </p:cNvPr>
          <p:cNvSpPr/>
          <p:nvPr/>
        </p:nvSpPr>
        <p:spPr>
          <a:xfrm>
            <a:off x="6921087" y="3983189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1842FE78-64A6-4062-88BB-53893E6FD897}"/>
              </a:ext>
            </a:extLst>
          </p:cNvPr>
          <p:cNvSpPr/>
          <p:nvPr/>
        </p:nvSpPr>
        <p:spPr>
          <a:xfrm>
            <a:off x="7401989" y="454234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94472FCC-90E8-4D11-943B-F13221D595BE}"/>
              </a:ext>
            </a:extLst>
          </p:cNvPr>
          <p:cNvSpPr/>
          <p:nvPr/>
        </p:nvSpPr>
        <p:spPr>
          <a:xfrm>
            <a:off x="7401989" y="5072495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D2C1D709-B145-4522-AC77-3F0FCDCEC69A}"/>
              </a:ext>
            </a:extLst>
          </p:cNvPr>
          <p:cNvSpPr/>
          <p:nvPr/>
        </p:nvSpPr>
        <p:spPr>
          <a:xfrm>
            <a:off x="6921087" y="234152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73" name="Connector: Elbow 72">
            <a:extLst>
              <a:ext uri="{FF2B5EF4-FFF2-40B4-BE49-F238E27FC236}">
                <a16:creationId xmlns:a16="http://schemas.microsoft.com/office/drawing/2014/main" id="{A9B6F843-DC6A-477D-BDF3-A6F54EA9C29B}"/>
              </a:ext>
            </a:extLst>
          </p:cNvPr>
          <p:cNvCxnSpPr>
            <a:cxnSpLocks/>
            <a:stCxn id="66" idx="2"/>
            <a:endCxn id="72" idx="2"/>
          </p:cNvCxnSpPr>
          <p:nvPr/>
        </p:nvCxnSpPr>
        <p:spPr>
          <a:xfrm rot="10800000" flipH="1" flipV="1">
            <a:off x="6589011" y="1883129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169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4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11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1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6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Office Theme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Motiv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7.xml><?xml version="1.0" encoding="utf-8"?>
<a:theme xmlns:a="http://schemas.openxmlformats.org/drawingml/2006/main" name="3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8.xml><?xml version="1.0" encoding="utf-8"?>
<a:theme xmlns:a="http://schemas.openxmlformats.org/drawingml/2006/main" name="9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9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349</TotalTime>
  <Words>6592</Words>
  <Application>Microsoft Office PowerPoint</Application>
  <PresentationFormat>Širokoúhlá obrazovka</PresentationFormat>
  <Paragraphs>1218</Paragraphs>
  <Slides>47</Slides>
  <Notes>9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11</vt:i4>
      </vt:variant>
      <vt:variant>
        <vt:lpstr>Nadpisy snímků</vt:lpstr>
      </vt:variant>
      <vt:variant>
        <vt:i4>47</vt:i4>
      </vt:variant>
    </vt:vector>
  </HeadingPairs>
  <TitlesOfParts>
    <vt:vector size="65" baseType="lpstr">
      <vt:lpstr>Arial</vt:lpstr>
      <vt:lpstr>Arial (Základní text)</vt:lpstr>
      <vt:lpstr>Arial Black</vt:lpstr>
      <vt:lpstr>Calibri</vt:lpstr>
      <vt:lpstr>Calibri Light</vt:lpstr>
      <vt:lpstr>Segoe UI</vt:lpstr>
      <vt:lpstr>Wingdings</vt:lpstr>
      <vt:lpstr>Motiv Office</vt:lpstr>
      <vt:lpstr>1_Motiv systému Office</vt:lpstr>
      <vt:lpstr>2_Motiv Office</vt:lpstr>
      <vt:lpstr>6_Motiv Office</vt:lpstr>
      <vt:lpstr>Office Theme</vt:lpstr>
      <vt:lpstr>8_Motiv Office</vt:lpstr>
      <vt:lpstr>3_Motiv Office</vt:lpstr>
      <vt:lpstr>9_Motiv Office</vt:lpstr>
      <vt:lpstr>7_Motiv Office</vt:lpstr>
      <vt:lpstr>4_Motiv Office</vt:lpstr>
      <vt:lpstr>1_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Vývoj reprodukčního čísla* – srovnání krajů  </vt:lpstr>
      <vt:lpstr>Prezentace aplikace PowerPoint</vt:lpstr>
      <vt:lpstr>Podíl pozitivních testů: diagnostické indikace </vt:lpstr>
      <vt:lpstr>Typologie pozitivních případů dle diagnostického testu</vt:lpstr>
      <vt:lpstr>Prezentace aplikace PowerPoint</vt:lpstr>
      <vt:lpstr>14 denní počet nových případů (na 100 000 obyv.) v ORP – časový vývoj</vt:lpstr>
      <vt:lpstr>14 denní počet nových případů (na 100 000 obyv.) v ORP</vt:lpstr>
      <vt:lpstr>14 denní počet nových případů (na 100 000 obyv.) v okresech</vt:lpstr>
      <vt:lpstr>14 denní počet nových případů (na 100 000 obyv.) v okresech</vt:lpstr>
      <vt:lpstr>Nejvíce zatížené okresy dle nových případů za 14 dní na 100 000 obyvatel</vt:lpstr>
      <vt:lpstr>Nejvíce zatížené okresy dle nových případů za 14 dní na 100 000 obyvatel</vt:lpstr>
      <vt:lpstr>14denní incidence na 100 tisíc obyvatel</vt:lpstr>
      <vt:lpstr>14denní incidence 65+ na 100 tisíc obyvatel 65+</vt:lpstr>
      <vt:lpstr>Datová a informační základna  pro management pandemie COVID-19</vt:lpstr>
      <vt:lpstr>Prezentace aplikace PowerPoint</vt:lpstr>
      <vt:lpstr> Aktuální počty hospitalizovaných pacientů jsou extrémní a zejména v segmentu vysoce intenzivní péče začínají v nejvíce zatížených regionech limitně vyčerpávat dostupné kapacity.  </vt:lpstr>
      <vt:lpstr>Prezentace aplikace PowerPoint</vt:lpstr>
      <vt:lpstr>Prezentace aplikace PowerPoint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Prezentace aplikace PowerPoint</vt:lpstr>
      <vt:lpstr>Prezentace aplikace PowerPoint</vt:lpstr>
      <vt:lpstr>Predikovaný počet aktuálně hospitalizovaných</vt:lpstr>
      <vt:lpstr>Predikovaný počet aktuálně hospitalizovaných na JIP</vt:lpstr>
      <vt:lpstr>Datová a informační základna  pro management pandemie COVID-19</vt:lpstr>
      <vt:lpstr>Prezentace aplikace PowerPoint</vt:lpstr>
      <vt:lpstr>Prezentace aplikace PowerPoint</vt:lpstr>
      <vt:lpstr>Predikovaný počet aktuálně hospitalizovaných</vt:lpstr>
      <vt:lpstr>Predikovaný počet aktuálně hospitalizovaných na JIP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Národní dispečink lůžkové péče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Ladislav Dušek</cp:lastModifiedBy>
  <cp:revision>2551</cp:revision>
  <dcterms:created xsi:type="dcterms:W3CDTF">2020-03-16T10:06:11Z</dcterms:created>
  <dcterms:modified xsi:type="dcterms:W3CDTF">2021-03-13T06:55:48Z</dcterms:modified>
</cp:coreProperties>
</file>